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0" r:id="rId2"/>
    <p:sldMasterId id="2147483723" r:id="rId3"/>
    <p:sldMasterId id="2147483741" r:id="rId4"/>
  </p:sldMasterIdLst>
  <p:notesMasterIdLst>
    <p:notesMasterId r:id="rId19"/>
  </p:notesMasterIdLst>
  <p:sldIdLst>
    <p:sldId id="264" r:id="rId5"/>
    <p:sldId id="265" r:id="rId6"/>
    <p:sldId id="266" r:id="rId7"/>
    <p:sldId id="267" r:id="rId8"/>
    <p:sldId id="268" r:id="rId9"/>
    <p:sldId id="269" r:id="rId10"/>
    <p:sldId id="270" r:id="rId11"/>
    <p:sldId id="271" r:id="rId12"/>
    <p:sldId id="272" r:id="rId13"/>
    <p:sldId id="273" r:id="rId14"/>
    <p:sldId id="274" r:id="rId15"/>
    <p:sldId id="275" r:id="rId16"/>
    <p:sldId id="276" r:id="rId17"/>
    <p:sldId id="263"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660"/>
  </p:normalViewPr>
  <p:slideViewPr>
    <p:cSldViewPr snapToGrid="0">
      <p:cViewPr varScale="1">
        <p:scale>
          <a:sx n="89" d="100"/>
          <a:sy n="89" d="100"/>
        </p:scale>
        <p:origin x="466" y="77"/>
      </p:cViewPr>
      <p:guideLst/>
    </p:cSldViewPr>
  </p:slideViewPr>
  <p:notesTextViewPr>
    <p:cViewPr>
      <p:scale>
        <a:sx n="1" d="1"/>
        <a:sy n="1" d="1"/>
      </p:scale>
      <p:origin x="0" y="0"/>
    </p:cViewPr>
  </p:notesTextViewPr>
  <p:sorterViewPr>
    <p:cViewPr>
      <p:scale>
        <a:sx n="100" d="100"/>
        <a:sy n="100" d="100"/>
      </p:scale>
      <p:origin x="0" y="-169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6ECE687-D253-4A87-A13E-A107B46F36C9}" type="datetimeFigureOut">
              <a:rPr lang="en-US" smtClean="0"/>
              <a:t>10/23/201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15B6A9-229D-45E8-A696-4931512D7536}" type="slidenum">
              <a:rPr lang="en-US" smtClean="0"/>
              <a:t>‹#›</a:t>
            </a:fld>
            <a:endParaRPr lang="en-US"/>
          </a:p>
        </p:txBody>
      </p:sp>
    </p:spTree>
    <p:extLst>
      <p:ext uri="{BB962C8B-B14F-4D97-AF65-F5344CB8AC3E}">
        <p14:creationId xmlns:p14="http://schemas.microsoft.com/office/powerpoint/2010/main" val="44016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9D89890-6218-49EA-9CF6-0025ADB32887}"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2353523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23/2014 12: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8649938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WPC 2013</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10/23/2014 12:1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67871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3/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1281263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cking down</a:t>
            </a:r>
            <a:r>
              <a:rPr lang="en-US" baseline="0" dirty="0" smtClean="0"/>
              <a:t> on TDC </a:t>
            </a:r>
            <a:r>
              <a:rPr lang="en-US" dirty="0" smtClean="0"/>
              <a:t>What are customers</a:t>
            </a:r>
            <a:r>
              <a:rPr lang="en-US" baseline="0" dirty="0" smtClean="0"/>
              <a:t> asking of us…</a:t>
            </a:r>
          </a:p>
          <a:p>
            <a:endParaRPr lang="en-US" baseline="0" dirty="0" smtClean="0"/>
          </a:p>
          <a:p>
            <a:pPr marL="171450" indent="-171450">
              <a:buFont typeface="Arial" panose="020B0604020202020204" pitchFamily="34" charset="0"/>
              <a:buChar char="•"/>
            </a:pPr>
            <a:r>
              <a:rPr lang="en-US" baseline="0" dirty="0" smtClean="0"/>
              <a:t>On-demand – easily and flexibly extend to cloud as my business needs it. augment DC capacity at a snap (</a:t>
            </a:r>
            <a:r>
              <a:rPr lang="en-US" baseline="0" dirty="0" err="1" smtClean="0"/>
              <a:t>devtest</a:t>
            </a:r>
            <a:r>
              <a:rPr lang="en-US" baseline="0" dirty="0" smtClean="0"/>
              <a:t> or opening up shop in a new market) or scaling out an app to a public cloud on-demand (transient use pattern). </a:t>
            </a:r>
          </a:p>
          <a:p>
            <a:pPr marL="171450" indent="-171450">
              <a:buFont typeface="Arial" panose="020B0604020202020204" pitchFamily="34" charset="0"/>
              <a:buChar char="•"/>
            </a:pPr>
            <a:r>
              <a:rPr lang="en-US" baseline="0" dirty="0" smtClean="0"/>
              <a:t>Reduce cost and complexity – help me simplify, help me standardize….break through clutter…new ways to think about my DC</a:t>
            </a:r>
          </a:p>
          <a:p>
            <a:pPr marL="171450" indent="-171450">
              <a:buFont typeface="Arial" panose="020B0604020202020204" pitchFamily="34" charset="0"/>
              <a:buChar char="•"/>
            </a:pPr>
            <a:r>
              <a:rPr lang="en-US" baseline="0" dirty="0" smtClean="0"/>
              <a:t>Rapid response to business…..does it help me get faster? </a:t>
            </a:r>
          </a:p>
          <a:p>
            <a:endParaRPr lang="en-US" baseline="0" dirty="0" smtClean="0"/>
          </a:p>
          <a:p>
            <a:r>
              <a:rPr lang="en-US" baseline="0" dirty="0" smtClean="0"/>
              <a:t>What do we deliver? </a:t>
            </a:r>
          </a:p>
          <a:p>
            <a:pPr marL="171450" indent="-171450">
              <a:buFont typeface="Arial" panose="020B0604020202020204" pitchFamily="34" charset="0"/>
              <a:buChar char="•"/>
            </a:pPr>
            <a:r>
              <a:rPr lang="en-US" baseline="0" dirty="0" smtClean="0"/>
              <a:t>DC w/o boundaries – ability to expand outside of your fall walls on demand (networking is key to this as we will see)</a:t>
            </a:r>
          </a:p>
          <a:p>
            <a:pPr marL="171450" indent="-171450">
              <a:buFont typeface="Arial" panose="020B0604020202020204" pitchFamily="34" charset="0"/>
              <a:buChar char="•"/>
            </a:pPr>
            <a:r>
              <a:rPr lang="en-US" baseline="0" dirty="0" smtClean="0"/>
              <a:t>Cloud innovation everywhere – this stems from all our learning operating large scale cloud services in our datacenters and bringing them back to our enterprise products. </a:t>
            </a:r>
          </a:p>
          <a:p>
            <a:pPr marL="171450" indent="-171450">
              <a:buFont typeface="Arial" panose="020B0604020202020204" pitchFamily="34" charset="0"/>
              <a:buChar char="•"/>
            </a:pPr>
            <a:r>
              <a:rPr lang="en-US" baseline="0" dirty="0" smtClean="0"/>
              <a:t>Dynamic app delivery – about delivering apps to market faster and providing the infra </a:t>
            </a:r>
            <a:r>
              <a:rPr lang="en-US" baseline="0" dirty="0" err="1" smtClean="0"/>
              <a:t>reqd</a:t>
            </a:r>
            <a:r>
              <a:rPr lang="en-US" baseline="0" dirty="0" smtClean="0"/>
              <a:t> to deliver apps to market faster, be the </a:t>
            </a:r>
            <a:r>
              <a:rPr lang="en-US" baseline="0" dirty="0" err="1" smtClean="0"/>
              <a:t>onprem</a:t>
            </a:r>
            <a:r>
              <a:rPr lang="en-US" baseline="0" dirty="0" smtClean="0"/>
              <a:t> or on public.</a:t>
            </a:r>
          </a:p>
          <a:p>
            <a:endParaRPr lang="en-US" baseline="0" dirty="0" smtClean="0"/>
          </a:p>
          <a:p>
            <a:r>
              <a:rPr lang="en-US" baseline="0" dirty="0" smtClean="0"/>
              <a:t>Of course, the extends across all the assets in our broad portfolio.</a:t>
            </a: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Because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a:t>
            </a: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p>
        </p:txBody>
      </p:sp>
      <p:sp>
        <p:nvSpPr>
          <p:cNvPr id="6" name="Date Placeholder 5"/>
          <p:cNvSpPr>
            <a:spLocks noGrp="1"/>
          </p:cNvSpPr>
          <p:nvPr>
            <p:ph type="dt" idx="12"/>
          </p:nvPr>
        </p:nvSpPr>
        <p:spPr/>
        <p:txBody>
          <a:bodyPr/>
          <a:lstStyle/>
          <a:p>
            <a:fld id="{A369831F-5D14-476F-86A6-D63D7A5E6CB2}"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333980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71571" rtl="0" eaLnBrk="1" fontAlgn="auto" latinLnBrk="0" hangingPunct="1">
              <a:lnSpc>
                <a:spcPct val="90000"/>
              </a:lnSpc>
              <a:spcBef>
                <a:spcPts val="0"/>
              </a:spcBef>
              <a:spcAft>
                <a:spcPts val="354"/>
              </a:spcAft>
              <a:buClrTx/>
              <a:buSzTx/>
              <a:buFontTx/>
              <a:buNone/>
              <a:tabLst/>
              <a:defRPr/>
            </a:pPr>
            <a:r>
              <a:rPr lang="en-US" sz="900" kern="1200" dirty="0" smtClean="0">
                <a:solidFill>
                  <a:schemeClr val="tx1"/>
                </a:solidFill>
                <a:effectLst/>
                <a:latin typeface="Segoe UI Light" pitchFamily="34" charset="0"/>
                <a:ea typeface="+mn-ea"/>
                <a:cs typeface="+mn-cs"/>
              </a:rPr>
              <a:t>From an </a:t>
            </a:r>
            <a:r>
              <a:rPr lang="en-US" sz="900" kern="1200" dirty="0" err="1" smtClean="0">
                <a:solidFill>
                  <a:schemeClr val="tx1"/>
                </a:solidFill>
                <a:effectLst/>
                <a:latin typeface="Segoe UI Light" pitchFamily="34" charset="0"/>
                <a:ea typeface="+mn-ea"/>
                <a:cs typeface="+mn-cs"/>
              </a:rPr>
              <a:t>IaaS</a:t>
            </a:r>
            <a:r>
              <a:rPr lang="en-US" sz="900" kern="1200" dirty="0" smtClean="0">
                <a:solidFill>
                  <a:schemeClr val="tx1"/>
                </a:solidFill>
                <a:effectLst/>
                <a:latin typeface="Segoe UI Light" pitchFamily="34" charset="0"/>
                <a:ea typeface="+mn-ea"/>
                <a:cs typeface="+mn-cs"/>
              </a:rPr>
              <a:t> perspective, Windows Azure is a cost-effective alternative to offload hardware and software resources and demands from on-premises and into the cloud to provide customers more IT agility and cost-effective solutions to better manage their IT resource mix:</a:t>
            </a:r>
          </a:p>
          <a:p>
            <a:pPr marL="0" marR="0" indent="0" algn="l" defTabSz="971571" rtl="0" eaLnBrk="1" fontAlgn="auto" latinLnBrk="0" hangingPunct="1">
              <a:lnSpc>
                <a:spcPct val="90000"/>
              </a:lnSpc>
              <a:spcBef>
                <a:spcPts val="0"/>
              </a:spcBef>
              <a:spcAft>
                <a:spcPts val="354"/>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69863" indent="-169863" defTabSz="932742">
              <a:spcBef>
                <a:spcPts val="600"/>
              </a:spcBef>
              <a:buFont typeface="Arial" panose="020B0604020202020204" pitchFamily="34" charset="0"/>
              <a:buChar char="•"/>
            </a:pPr>
            <a:r>
              <a:rPr lang="en-US" sz="900" kern="1200" dirty="0" smtClean="0">
                <a:solidFill>
                  <a:srgbClr val="505050"/>
                </a:solidFill>
                <a:latin typeface="Segoe UI Light" pitchFamily="34" charset="0"/>
                <a:ea typeface="+mn-ea"/>
                <a:cs typeface="+mn-cs"/>
              </a:rPr>
              <a:t>The Microsoft Cloud OS, which is led by Windows Server, System Center, and Azure, enables customers to easily virtualize, deploy, manage and automate their workloads – whether in a private, public, or service provider cloud – and offers a consistent set of tools for development, management, and identity across the entire infrastructure.</a:t>
            </a:r>
          </a:p>
          <a:p>
            <a:pPr marL="169863" lvl="0" indent="-169863" defTabSz="932742">
              <a:spcBef>
                <a:spcPts val="600"/>
              </a:spcBef>
              <a:buFont typeface="Arial" panose="020B0604020202020204" pitchFamily="34" charset="0"/>
              <a:buChar char="•"/>
            </a:pPr>
            <a:r>
              <a:rPr lang="en-US" sz="900" kern="1200" dirty="0" smtClean="0">
                <a:solidFill>
                  <a:srgbClr val="505050"/>
                </a:solidFill>
                <a:latin typeface="Segoe UI Light" pitchFamily="34" charset="0"/>
                <a:ea typeface="+mn-ea"/>
                <a:cs typeface="+mn-cs"/>
              </a:rPr>
              <a:t>While AWS is focused on moving customers’ workloads to Amazon’s public cloud, Microsoft delivers a truly hybrid platform that offers customers a choice in where they run their applications. </a:t>
            </a:r>
          </a:p>
          <a:p>
            <a:pPr marL="169863" lvl="0" indent="-169863" defTabSz="932742">
              <a:spcBef>
                <a:spcPts val="600"/>
              </a:spcBef>
              <a:buFont typeface="Arial" panose="020B0604020202020204" pitchFamily="34" charset="0"/>
              <a:buChar char="•"/>
            </a:pPr>
            <a:r>
              <a:rPr lang="en-US" sz="900" kern="1200" dirty="0" smtClean="0">
                <a:solidFill>
                  <a:srgbClr val="505050"/>
                </a:solidFill>
                <a:latin typeface="Segoe UI Light" pitchFamily="34" charset="0"/>
                <a:ea typeface="+mn-ea"/>
                <a:cs typeface="+mn-cs"/>
              </a:rPr>
              <a:t>Microsoft customers have the flexibility to maintain a consistent platform with integrated virtualization to move workloads between environments without change.</a:t>
            </a:r>
          </a:p>
          <a:p>
            <a:pPr marL="171450" indent="-171450" defTabSz="932742">
              <a:spcBef>
                <a:spcPts val="100"/>
              </a:spcBef>
              <a:spcAft>
                <a:spcPts val="100"/>
              </a:spcAft>
              <a:buFont typeface="Arial" panose="020B0604020202020204" pitchFamily="34" charset="0"/>
              <a:buChar char="•"/>
              <a:defRPr/>
            </a:pPr>
            <a:r>
              <a:rPr lang="en-US" sz="900" kern="1200" dirty="0" smtClean="0">
                <a:solidFill>
                  <a:schemeClr val="tx2"/>
                </a:solidFill>
                <a:latin typeface="Segoe UI Light" pitchFamily="34" charset="0"/>
                <a:ea typeface="+mn-ea"/>
                <a:cs typeface="+mn-cs"/>
              </a:rPr>
              <a:t>Microsoft provides a truly hybrid cloud platform with a common set of technologies and capabilities across on-premises, Azure, and Service Provider clouds.</a:t>
            </a:r>
          </a:p>
          <a:p>
            <a:pPr marL="171450" indent="-171450" defTabSz="932742">
              <a:spcBef>
                <a:spcPts val="100"/>
              </a:spcBef>
              <a:spcAft>
                <a:spcPts val="100"/>
              </a:spcAft>
              <a:buFont typeface="Arial" panose="020B0604020202020204" pitchFamily="34" charset="0"/>
              <a:buChar char="•"/>
              <a:defRPr/>
            </a:pPr>
            <a:r>
              <a:rPr lang="en-US" sz="900" kern="1200" dirty="0" smtClean="0">
                <a:solidFill>
                  <a:schemeClr val="tx2"/>
                </a:solidFill>
                <a:latin typeface="Segoe UI Light" pitchFamily="34" charset="0"/>
                <a:ea typeface="+mn-ea"/>
                <a:cs typeface="+mn-cs"/>
              </a:rPr>
              <a:t>Microsoft customers can easily move virtual machines “as-is” across on-premises, Windows Azure, and 3rd party </a:t>
            </a:r>
            <a:r>
              <a:rPr lang="en-US" sz="900" kern="1200" dirty="0" err="1" smtClean="0">
                <a:solidFill>
                  <a:schemeClr val="tx2"/>
                </a:solidFill>
                <a:latin typeface="Segoe UI Light" pitchFamily="34" charset="0"/>
                <a:ea typeface="+mn-ea"/>
                <a:cs typeface="+mn-cs"/>
              </a:rPr>
              <a:t>hoster</a:t>
            </a:r>
            <a:r>
              <a:rPr lang="en-US" sz="900" kern="1200" dirty="0" smtClean="0">
                <a:solidFill>
                  <a:schemeClr val="tx2"/>
                </a:solidFill>
                <a:latin typeface="Segoe UI Light" pitchFamily="34" charset="0"/>
                <a:ea typeface="+mn-ea"/>
                <a:cs typeface="+mn-cs"/>
              </a:rPr>
              <a:t>. </a:t>
            </a:r>
          </a:p>
          <a:p>
            <a:pPr marL="176213" lvl="0" indent="-176213">
              <a:spcBef>
                <a:spcPts val="400"/>
              </a:spcBef>
              <a:buFont typeface="Arial" panose="020B0604020202020204" pitchFamily="34" charset="0"/>
              <a:buChar char="•"/>
            </a:pPr>
            <a:r>
              <a:rPr lang="en-US" sz="900" kern="1200" dirty="0" smtClean="0">
                <a:solidFill>
                  <a:schemeClr val="tx2"/>
                </a:solidFill>
                <a:latin typeface="Segoe UI Light" pitchFamily="34" charset="0"/>
                <a:ea typeface="+mn-ea"/>
                <a:cs typeface="+mn-cs"/>
              </a:rPr>
              <a:t>With Microsoft’s Cloud OS, customers have the control to decide where to extend the platform to –on-premises, on hosting service provider, the Microsoft public cloud, or any mix of these.</a:t>
            </a:r>
          </a:p>
          <a:p>
            <a:pPr marL="0" marR="0" indent="0" algn="l" defTabSz="971571" rtl="0" eaLnBrk="1" fontAlgn="auto" latinLnBrk="0" hangingPunct="1">
              <a:lnSpc>
                <a:spcPct val="90000"/>
              </a:lnSpc>
              <a:spcBef>
                <a:spcPts val="0"/>
              </a:spcBef>
              <a:spcAft>
                <a:spcPts val="354"/>
              </a:spcAft>
              <a:buClrTx/>
              <a:buSzTx/>
              <a:buFontTx/>
              <a:buNone/>
              <a:tabLst/>
              <a:defRPr/>
            </a:pPr>
            <a:endParaRPr lang="en-US" sz="900" kern="1200" dirty="0" smtClean="0">
              <a:solidFill>
                <a:schemeClr val="tx1"/>
              </a:solidFill>
              <a:effectLst/>
              <a:latin typeface="Segoe UI Light" pitchFamily="34" charset="0"/>
              <a:ea typeface="+mn-ea"/>
              <a:cs typeface="+mn-cs"/>
            </a:endParaRPr>
          </a:p>
          <a:p>
            <a:pPr defTabSz="971571">
              <a:spcAft>
                <a:spcPts val="354"/>
              </a:spcAft>
              <a:defRPr/>
            </a:pPr>
            <a:endParaRPr lang="en-US" dirty="0" smtClean="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521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EED12CF-FEEC-48FD-AB64-6DB89CAC2E97}"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979257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With </a:t>
            </a:r>
            <a:r>
              <a:rPr lang="en-US" sz="900" kern="1200" dirty="0" err="1" smtClean="0">
                <a:solidFill>
                  <a:schemeClr val="tx1"/>
                </a:solidFill>
                <a:effectLst/>
                <a:latin typeface="Segoe UI Light" pitchFamily="34" charset="0"/>
                <a:ea typeface="+mn-ea"/>
                <a:cs typeface="+mn-cs"/>
              </a:rPr>
              <a:t>PaaS</a:t>
            </a:r>
            <a:r>
              <a:rPr lang="en-US" sz="900" kern="1200" dirty="0" smtClean="0">
                <a:solidFill>
                  <a:schemeClr val="tx1"/>
                </a:solidFill>
                <a:effectLst/>
                <a:latin typeface="Segoe UI Light" pitchFamily="34" charset="0"/>
                <a:ea typeface="+mn-ea"/>
                <a:cs typeface="+mn-cs"/>
              </a:rPr>
              <a:t>, Windows Azure offers your customers a solution to offload their platform components including virtualization, servers, storage, networking, runtime, middleware, and OS to again provide a cost-effective agile way to manage their IT budget and resources.</a:t>
            </a:r>
          </a:p>
          <a:p>
            <a:pPr marL="285750" indent="-285750">
              <a:buFont typeface="Arial" panose="020B0604020202020204" pitchFamily="34" charset="0"/>
              <a:buChar char="•"/>
            </a:pPr>
            <a:r>
              <a:rPr lang="en-US" dirty="0" smtClean="0">
                <a:ea typeface="Segoe UI"/>
              </a:rPr>
              <a:t>Microsoft customers get the best value, combining the lowest price with the flexibility of a hybrid environment and an enterprise-ready platform. Azure is unique in the sense that customers can easily migrate apps “as-is” from on-premises to Azure using </a:t>
            </a:r>
            <a:r>
              <a:rPr lang="en-US" dirty="0" err="1" smtClean="0">
                <a:ea typeface="Segoe UI"/>
              </a:rPr>
              <a:t>IaaS</a:t>
            </a:r>
            <a:r>
              <a:rPr lang="en-US" dirty="0" smtClean="0">
                <a:ea typeface="Segoe UI"/>
              </a:rPr>
              <a:t> virtual machines and later add more </a:t>
            </a:r>
            <a:r>
              <a:rPr lang="en-US" dirty="0" err="1" smtClean="0">
                <a:ea typeface="Segoe UI"/>
              </a:rPr>
              <a:t>PaaS</a:t>
            </a:r>
            <a:r>
              <a:rPr lang="en-US" dirty="0" smtClean="0">
                <a:ea typeface="Segoe UI"/>
              </a:rPr>
              <a:t> services to the application.</a:t>
            </a:r>
          </a:p>
          <a:p>
            <a:pPr marL="285750" indent="-285750">
              <a:buFont typeface="Arial" panose="020B0604020202020204" pitchFamily="34" charset="0"/>
              <a:buChar char="•"/>
            </a:pPr>
            <a:r>
              <a:rPr lang="en-US" dirty="0" smtClean="0"/>
              <a:t>Microsoft Azure offers a comprehensive </a:t>
            </a:r>
            <a:r>
              <a:rPr lang="en-US" dirty="0" err="1" smtClean="0"/>
              <a:t>IaaS+PaaS</a:t>
            </a:r>
            <a:r>
              <a:rPr lang="en-US" dirty="0" smtClean="0"/>
              <a:t> platform. With </a:t>
            </a:r>
            <a:r>
              <a:rPr lang="en-US" dirty="0" err="1" smtClean="0"/>
              <a:t>IaaS</a:t>
            </a:r>
            <a:r>
              <a:rPr lang="en-US" dirty="0" smtClean="0"/>
              <a:t>, customers can immediately move apps “as is” to Azure and gain full control over the app environment.). As a </a:t>
            </a:r>
            <a:r>
              <a:rPr lang="en-US" dirty="0" err="1" smtClean="0"/>
              <a:t>PaaS</a:t>
            </a:r>
            <a:r>
              <a:rPr lang="en-US" dirty="0" smtClean="0"/>
              <a:t>, the underlying OS and system management tasks are automated, enabling developers to focus on apps. This leads to faster on-boarding to the public cloud and lets customer quickly develop apps while using the platform’s richness (scalability, tools, services.).</a:t>
            </a:r>
          </a:p>
          <a:p>
            <a:pPr marL="285750" indent="-285750">
              <a:buFont typeface="Arial" panose="020B0604020202020204" pitchFamily="34" charset="0"/>
              <a:buChar char="•"/>
            </a:pPr>
            <a:r>
              <a:rPr lang="en-US" dirty="0" smtClean="0"/>
              <a:t>AWS is primarily an </a:t>
            </a:r>
            <a:r>
              <a:rPr lang="en-US" dirty="0" err="1" smtClean="0"/>
              <a:t>IaaS</a:t>
            </a:r>
            <a:r>
              <a:rPr lang="en-US" dirty="0" smtClean="0"/>
              <a:t> service that depends on partners to fulfill </a:t>
            </a:r>
            <a:r>
              <a:rPr lang="en-US" dirty="0" err="1" smtClean="0"/>
              <a:t>PaaS</a:t>
            </a:r>
            <a:r>
              <a:rPr lang="en-US" dirty="0" smtClean="0"/>
              <a:t> scenarios. This limits the flexibility of customers and necessitates them to continue to do the same as before (manage the infrastructure).</a:t>
            </a: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521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2152"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6ECD19C-7724-4995-B922-ADA47F173784}"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454549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6289FCC-CA58-4EE6-BE7F-B3D21619ABEE}"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875874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33ADC3D-FA6F-4C58-B343-DBD224734855}"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041134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0850" y="717550"/>
            <a:ext cx="6372225" cy="3584575"/>
          </a:xfrm>
        </p:spPr>
      </p:sp>
      <p:sp>
        <p:nvSpPr>
          <p:cNvPr id="3" name="Notes Placeholder 2"/>
          <p:cNvSpPr>
            <a:spLocks noGrp="1"/>
          </p:cNvSpPr>
          <p:nvPr>
            <p:ph type="body" idx="1"/>
          </p:nvPr>
        </p:nvSpPr>
        <p:spPr/>
        <p:txBody>
          <a:bodyPr>
            <a:normAutofit/>
          </a:bodyPr>
          <a:lstStyle/>
          <a:p>
            <a:pPr defTabSz="1130684">
              <a:defRPr/>
            </a:pPr>
            <a:r>
              <a:rPr lang="en-US" baseline="0" dirty="0" smtClean="0"/>
              <a:t>This slide is used to illustrate the breadth of capabilities that Windows Azure has – up to this point you have talked about why cloud and our infrastructure and so </a:t>
            </a:r>
            <a:r>
              <a:rPr lang="en-US" baseline="0" dirty="0" err="1" smtClean="0"/>
              <a:t>th</a:t>
            </a:r>
            <a:r>
              <a:rPr lang="en-US" baseline="0" dirty="0" smtClean="0"/>
              <a:t> </a:t>
            </a:r>
            <a:r>
              <a:rPr lang="en-US" baseline="0" dirty="0" err="1" smtClean="0"/>
              <a:t>elead</a:t>
            </a:r>
            <a:r>
              <a:rPr lang="en-US" baseline="0" dirty="0" smtClean="0"/>
              <a:t> in to this slide is now to look at what actually is Windows Azure – what can it do… The following slide (which you can use instead) takes a different approach and just uses the big building blocks… Generally you would use this or that…</a:t>
            </a:r>
          </a:p>
          <a:p>
            <a:pPr defTabSz="1130684">
              <a:defRPr/>
            </a:pPr>
            <a:endParaRPr lang="en-US" baseline="0" dirty="0" smtClean="0"/>
          </a:p>
          <a:p>
            <a:pPr defTabSz="1130684">
              <a:defRPr/>
            </a:pPr>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366052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r>
              <a:rPr lang="en-US" dirty="0" smtClean="0"/>
              <a:t>Azure Government delivers cloud speed, scale, and economics while addressing the security and compliance needs of U.S. federal agencies including the Department of Defense plus state and local governments and their solutions providers. Azure Government offers physical and network isolation from non-U.S. government deployments and requires specialized personnel screening . Azure Government will address government regulatory and compliance requirements such as </a:t>
            </a:r>
            <a:r>
              <a:rPr lang="en-US" dirty="0" err="1" smtClean="0"/>
              <a:t>FedRAMP</a:t>
            </a:r>
            <a:r>
              <a:rPr lang="en-US" dirty="0" smtClean="0"/>
              <a:t>, CJIS and HIPAA.</a:t>
            </a:r>
          </a:p>
          <a:p>
            <a:endParaRPr lang="en-US" dirty="0" smtClean="0"/>
          </a:p>
          <a:p>
            <a:r>
              <a:rPr lang="en-US" dirty="0" smtClean="0"/>
              <a:t>The only comprehensive and open platform for government— spanning infrastructure, data, and productivity — delivered through cloud, </a:t>
            </a:r>
            <a:r>
              <a:rPr lang="en-US" dirty="0" err="1" smtClean="0"/>
              <a:t>on-premise</a:t>
            </a:r>
            <a:r>
              <a:rPr lang="en-US" dirty="0" smtClean="0"/>
              <a:t>, and hybrid solutions. </a:t>
            </a:r>
          </a:p>
          <a:p>
            <a:r>
              <a:rPr lang="en-US" dirty="0" smtClean="0"/>
              <a:t>Designed to meet the rigorous compliance and security demands that support the mission of government, healthcare, public safety, and defense.</a:t>
            </a:r>
          </a:p>
          <a:p>
            <a:r>
              <a:rPr lang="en-US" dirty="0" smtClean="0"/>
              <a:t>Leveraging existing security infrastructure and then extending world-class security and control in the cloud.</a:t>
            </a:r>
          </a:p>
          <a:p>
            <a:r>
              <a:rPr lang="en-US" dirty="0" smtClean="0"/>
              <a:t>Deployed quickly with finished services built into the Microsoft Government Cloud, providing improved management for IT in an environment users know.</a:t>
            </a:r>
          </a:p>
          <a:p>
            <a:r>
              <a:rPr lang="en-US" dirty="0" smtClean="0"/>
              <a:t>Power greater insights and results with integrated, familiar experiences across Office and CRM in the cloud.</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937B5E4-2E7D-48A1-8268-0B02F395D66F}"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476049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704850"/>
            <a:ext cx="6254750" cy="3519488"/>
          </a:xfrm>
        </p:spPr>
      </p:sp>
      <p:sp>
        <p:nvSpPr>
          <p:cNvPr id="3" name="Notes Placeholder 2"/>
          <p:cNvSpPr>
            <a:spLocks noGrp="1"/>
          </p:cNvSpPr>
          <p:nvPr>
            <p:ph type="body" idx="1"/>
          </p:nvPr>
        </p:nvSpPr>
        <p:spPr/>
        <p:txBody>
          <a:bodyPr/>
          <a:lstStyle/>
          <a:p>
            <a:pPr defTabSz="971707">
              <a:spcAft>
                <a:spcPts val="354"/>
              </a:spcAft>
              <a:defRPr/>
            </a:pPr>
            <a:endParaRPr lang="en-US" b="0" dirty="0">
              <a:latin typeface="Segoe UI" panose="020B0502040204020203" pitchFamily="34" charset="0"/>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197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7F235C48-FCF1-4D89-A538-145870CCF6BA}" type="datetime1">
              <a:rPr lang="en-US" smtClean="0">
                <a:solidFill>
                  <a:prstClr val="black"/>
                </a:solidFill>
              </a:rPr>
              <a:pPr/>
              <a:t>10/23/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3547803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5" Type="http://schemas.microsoft.com/office/2007/relationships/hdphoto" Target="../media/hdphoto1.wdp"/><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1.emf"/><Relationship Id="rId4" Type="http://schemas.openxmlformats.org/officeDocument/2006/relationships/oleObject" Target="../embeddings/oleObject4.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1.emf"/><Relationship Id="rId4" Type="http://schemas.openxmlformats.org/officeDocument/2006/relationships/oleObject" Target="../embeddings/oleObject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oleObject" Target="../embeddings/oleObject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1.emf"/><Relationship Id="rId4" Type="http://schemas.openxmlformats.org/officeDocument/2006/relationships/oleObject" Target="../embeddings/oleObject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1.emf"/><Relationship Id="rId4"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3.png"/><Relationship Id="rId5" Type="http://schemas.openxmlformats.org/officeDocument/2006/relationships/image" Target="../media/image21.emf"/><Relationship Id="rId4" Type="http://schemas.openxmlformats.org/officeDocument/2006/relationships/oleObject" Target="../embeddings/oleObject1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2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21.emf"/><Relationship Id="rId4" Type="http://schemas.openxmlformats.org/officeDocument/2006/relationships/oleObject" Target="../embeddings/oleObject12.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21.emf"/><Relationship Id="rId4" Type="http://schemas.openxmlformats.org/officeDocument/2006/relationships/oleObject" Target="../embeddings/oleObject13.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1.emf"/><Relationship Id="rId4" Type="http://schemas.openxmlformats.org/officeDocument/2006/relationships/oleObject" Target="../embeddings/oleObject1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1.emf"/><Relationship Id="rId4" Type="http://schemas.openxmlformats.org/officeDocument/2006/relationships/oleObject" Target="../embeddings/oleObject1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21.emf"/><Relationship Id="rId4" Type="http://schemas.openxmlformats.org/officeDocument/2006/relationships/oleObject" Target="../embeddings/oleObject17.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4.png"/><Relationship Id="rId5" Type="http://schemas.openxmlformats.org/officeDocument/2006/relationships/image" Target="../media/image21.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516074" y="1447800"/>
            <a:ext cx="6494565" cy="1524000"/>
          </a:xfrm>
        </p:spPr>
        <p:txBody>
          <a:bodyPr/>
          <a:lstStyle>
            <a:lvl1pPr marL="0" indent="0">
              <a:buNone/>
              <a:defRPr>
                <a:gradFill>
                  <a:gsLst>
                    <a:gs pos="0">
                      <a:schemeClr val="tx1"/>
                    </a:gs>
                    <a:gs pos="86000">
                      <a:schemeClr val="tx1"/>
                    </a:gs>
                  </a:gsLst>
                  <a:lin ang="5400000" scaled="0"/>
                </a:gradFill>
              </a:defRPr>
            </a:lvl1pPr>
          </a:lstStyle>
          <a:p>
            <a:r>
              <a:rPr lang="en-US" dirty="0" smtClean="0"/>
              <a:t>Name</a:t>
            </a:r>
          </a:p>
          <a:p>
            <a:r>
              <a:rPr lang="en-US" dirty="0" smtClean="0"/>
              <a:t>Title</a:t>
            </a:r>
          </a:p>
          <a:p>
            <a:r>
              <a:rPr lang="en-US" dirty="0" smtClean="0"/>
              <a:t>Microsoft Corporation</a:t>
            </a:r>
          </a:p>
        </p:txBody>
      </p:sp>
      <p:sp>
        <p:nvSpPr>
          <p:cNvPr id="5" name="Text Placeholder 2"/>
          <p:cNvSpPr>
            <a:spLocks noGrp="1"/>
          </p:cNvSpPr>
          <p:nvPr>
            <p:ph type="body" sz="quarter" idx="10" hasCustomPrompt="1"/>
          </p:nvPr>
        </p:nvSpPr>
        <p:spPr>
          <a:xfrm>
            <a:off x="516075" y="4191001"/>
            <a:ext cx="11161444" cy="757131"/>
          </a:xfrm>
        </p:spPr>
        <p:txBody>
          <a:bodyPr/>
          <a:lstStyle>
            <a:lvl1pPr marL="0" indent="0" algn="l" defTabSz="914325" rtl="0" eaLnBrk="1" latinLnBrk="0" hangingPunct="1">
              <a:lnSpc>
                <a:spcPct val="90000"/>
              </a:lnSpc>
              <a:spcBef>
                <a:spcPct val="0"/>
              </a:spcBef>
              <a:buNone/>
              <a:defRPr lang="en-US" sz="5500" b="0" kern="1200" cap="none" spc="-100" baseline="0" dirty="0">
                <a:ln w="3175">
                  <a:noFill/>
                </a:ln>
                <a:gradFill flip="none" rotWithShape="1">
                  <a:gsLst>
                    <a:gs pos="0">
                      <a:schemeClr val="bg1"/>
                    </a:gs>
                    <a:gs pos="86000">
                      <a:schemeClr val="bg1"/>
                    </a:gs>
                  </a:gsLst>
                  <a:lin ang="5400000" scaled="0"/>
                  <a:tileRect/>
                </a:gradFill>
                <a:effectLst/>
                <a:latin typeface="Segoe UI Light" pitchFamily="34" charset="0"/>
                <a:ea typeface="Segoe UI" pitchFamily="34" charset="0"/>
                <a:cs typeface="Segoe UI" pitchFamily="34" charset="0"/>
              </a:defRPr>
            </a:lvl1pPr>
          </a:lstStyle>
          <a:p>
            <a:pPr lvl="0"/>
            <a:r>
              <a:rPr lang="en-US" dirty="0" smtClean="0"/>
              <a:t>Title of Presentation</a:t>
            </a:r>
            <a:endParaRPr lang="en-US" dirty="0"/>
          </a:p>
        </p:txBody>
      </p:sp>
      <p:pic>
        <p:nvPicPr>
          <p:cNvPr id="6"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1"/>
            <a:ext cx="3216311" cy="1182791"/>
          </a:xfrm>
          <a:prstGeom prst="rect">
            <a:avLst/>
          </a:prstGeom>
        </p:spPr>
      </p:pic>
    </p:spTree>
    <p:extLst>
      <p:ext uri="{BB962C8B-B14F-4D97-AF65-F5344CB8AC3E}">
        <p14:creationId xmlns:p14="http://schemas.microsoft.com/office/powerpoint/2010/main" val="16945188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161101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820499"/>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73049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xxx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3" name="Rectangle 12"/>
          <p:cNvSpPr/>
          <p:nvPr userDrawn="1"/>
        </p:nvSpPr>
        <p:spPr bwMode="auto">
          <a:xfrm>
            <a:off x="1" y="0"/>
            <a:ext cx="12192000" cy="4419600"/>
          </a:xfrm>
          <a:prstGeom prst="rect">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Picture Placeholder 11"/>
          <p:cNvSpPr>
            <a:spLocks noGrp="1"/>
          </p:cNvSpPr>
          <p:nvPr>
            <p:ph type="pic" sz="quarter" idx="11" hasCustomPrompt="1"/>
          </p:nvPr>
        </p:nvSpPr>
        <p:spPr>
          <a:xfrm>
            <a:off x="1" y="3976403"/>
            <a:ext cx="12192000" cy="443199"/>
          </a:xfrm>
        </p:spPr>
        <p:txBody>
          <a:bodyPr anchor="b"/>
          <a:lstStyle>
            <a:lvl1pPr marL="0" indent="0" algn="ctr">
              <a:buNone/>
              <a:defRPr baseline="0">
                <a:gradFill>
                  <a:gsLst>
                    <a:gs pos="0">
                      <a:schemeClr val="tx2"/>
                    </a:gs>
                    <a:gs pos="86000">
                      <a:schemeClr val="tx2"/>
                    </a:gs>
                  </a:gsLst>
                  <a:lin ang="5400000" scaled="0"/>
                </a:gradFill>
              </a:defRPr>
            </a:lvl1pPr>
          </a:lstStyle>
          <a:p>
            <a:r>
              <a:rPr lang="en-US" dirty="0" smtClean="0"/>
              <a:t>Click on icon to change picture</a:t>
            </a:r>
            <a:endParaRPr lang="en-US" dirty="0"/>
          </a:p>
        </p:txBody>
      </p:sp>
      <p:sp>
        <p:nvSpPr>
          <p:cNvPr id="10" name="Title 1"/>
          <p:cNvSpPr>
            <a:spLocks noGrp="1"/>
          </p:cNvSpPr>
          <p:nvPr>
            <p:ph type="ctrTitle"/>
          </p:nvPr>
        </p:nvSpPr>
        <p:spPr>
          <a:xfrm>
            <a:off x="516073" y="5959292"/>
            <a:ext cx="9237846" cy="664797"/>
          </a:xfrm>
        </p:spPr>
        <p:txBody>
          <a:bodyPr anchor="ctr" anchorCtr="0">
            <a:no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384410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6075" y="1447801"/>
            <a:ext cx="11161444" cy="2000548"/>
          </a:xfrm>
        </p:spPr>
        <p:txBody>
          <a:bodyPr/>
          <a:lstStyle>
            <a:lvl1pPr marL="0" indent="0">
              <a:buNone/>
              <a:defRPr>
                <a:solidFill>
                  <a:srgbClr val="00AEEF"/>
                </a:solidFill>
              </a:defRPr>
            </a:lvl1pPr>
            <a:lvl2pPr marL="403225" indent="-393700" defTabSz="1025525">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99904367"/>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516073" y="1447801"/>
            <a:ext cx="1116144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28206385"/>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6073" y="1447801"/>
            <a:ext cx="11161443" cy="2000548"/>
          </a:xfrm>
        </p:spPr>
        <p:txBody>
          <a:bodyPr/>
          <a:lstStyle>
            <a:lvl1pPr marL="0" indent="0">
              <a:lnSpc>
                <a:spcPct val="90000"/>
              </a:lnSpc>
              <a:buClr>
                <a:srgbClr val="FF8200"/>
              </a:buClr>
              <a:buNone/>
              <a:defRPr>
                <a:solidFill>
                  <a:srgbClr val="FF8200"/>
                </a:solidFill>
              </a:defRPr>
            </a:lvl1pPr>
            <a:lvl2pPr marL="403225" indent="-393700" defTabSz="1025525">
              <a:lnSpc>
                <a:spcPct val="90000"/>
              </a:lnSpc>
              <a:buClr>
                <a:srgbClr val="FF8200"/>
              </a:buClr>
              <a:defRPr/>
            </a:lvl2pPr>
            <a:lvl3pPr>
              <a:lnSpc>
                <a:spcPct val="90000"/>
              </a:lnSpc>
              <a:buClr>
                <a:srgbClr val="FF8200"/>
              </a:buClr>
              <a:defRPr/>
            </a:lvl3pPr>
            <a:lvl4pPr>
              <a:lnSpc>
                <a:spcPct val="90000"/>
              </a:lnSpc>
              <a:buClr>
                <a:srgbClr val="FF8200"/>
              </a:buClr>
              <a:defRPr/>
            </a:lvl4pPr>
            <a:lvl5pPr>
              <a:lnSpc>
                <a:spcPct val="90000"/>
              </a:lnSpc>
              <a:buClr>
                <a:srgbClr val="FF8200"/>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67073118"/>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6074" y="1447803"/>
            <a:ext cx="5491005" cy="1764585"/>
          </a:xfrm>
        </p:spPr>
        <p:txBody>
          <a:bodyPr/>
          <a:lstStyle>
            <a:lvl1pPr marL="339962" indent="-339962">
              <a:lnSpc>
                <a:spcPct val="90000"/>
              </a:lnSpc>
              <a:defRPr sz="2800"/>
            </a:lvl1pPr>
            <a:lvl2pPr marL="673310" indent="-325411">
              <a:lnSpc>
                <a:spcPct val="90000"/>
              </a:lnSpc>
              <a:defRPr sz="2400"/>
            </a:lvl2pPr>
            <a:lvl3pPr marL="953745" indent="-288372">
              <a:lnSpc>
                <a:spcPct val="90000"/>
              </a:lnSpc>
              <a:defRPr sz="2000"/>
            </a:lvl3pPr>
            <a:lvl4pPr marL="1227566" indent="-273821">
              <a:lnSpc>
                <a:spcPct val="90000"/>
              </a:lnSpc>
              <a:defRPr sz="1900"/>
            </a:lvl4pPr>
            <a:lvl5pPr marL="1515939" indent="-280435">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3"/>
            <a:ext cx="5494182" cy="1764585"/>
          </a:xfrm>
        </p:spPr>
        <p:txBody>
          <a:bodyPr/>
          <a:lstStyle>
            <a:lvl1pPr marL="347899" indent="-347899">
              <a:lnSpc>
                <a:spcPct val="90000"/>
              </a:lnSpc>
              <a:defRPr sz="2800"/>
            </a:lvl1pPr>
            <a:lvl2pPr marL="673310" indent="-339962">
              <a:lnSpc>
                <a:spcPct val="90000"/>
              </a:lnSpc>
              <a:defRPr sz="2400"/>
            </a:lvl2pPr>
            <a:lvl3pPr marL="961682" indent="-302923">
              <a:lnSpc>
                <a:spcPct val="90000"/>
              </a:lnSpc>
              <a:defRPr sz="2000"/>
            </a:lvl3pPr>
            <a:lvl4pPr marL="1227566" indent="-265885">
              <a:lnSpc>
                <a:spcPct val="90000"/>
              </a:lnSpc>
              <a:defRPr sz="1900"/>
            </a:lvl4pPr>
            <a:lvl5pPr marL="1515939" indent="-273821">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386206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6073" y="1406941"/>
            <a:ext cx="5487829" cy="350865"/>
          </a:xfrm>
        </p:spPr>
        <p:txBody>
          <a:bodyPr anchor="b"/>
          <a:lstStyle>
            <a:lvl1pPr marL="0" indent="0">
              <a:lnSpc>
                <a:spcPct val="90000"/>
              </a:lnSpc>
              <a:spcBef>
                <a:spcPts val="0"/>
              </a:spcBef>
              <a:buNone/>
              <a:defRPr sz="2500" b="1"/>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6074" y="2133602"/>
            <a:ext cx="5486400" cy="1555297"/>
          </a:xfrm>
        </p:spPr>
        <p:txBody>
          <a:bodyPr/>
          <a:lstStyle>
            <a:lvl1pPr marL="281759" indent="-281759">
              <a:defRPr sz="2300"/>
            </a:lvl1pPr>
            <a:lvl2pPr marL="562195" indent="-265885">
              <a:defRPr sz="2000"/>
            </a:lvl2pPr>
            <a:lvl3pPr marL="813528" indent="-243397">
              <a:defRPr sz="1900"/>
            </a:lvl3pPr>
            <a:lvl4pPr marL="1050311" indent="-228847">
              <a:defRPr sz="1700"/>
            </a:lvl4pPr>
            <a:lvl5pPr marL="1279156" indent="-20635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9687" y="1406941"/>
            <a:ext cx="5487829" cy="350865"/>
          </a:xfrm>
        </p:spPr>
        <p:txBody>
          <a:bodyPr anchor="b"/>
          <a:lstStyle>
            <a:lvl1pPr marL="0" indent="0">
              <a:lnSpc>
                <a:spcPct val="90000"/>
              </a:lnSpc>
              <a:spcBef>
                <a:spcPts val="0"/>
              </a:spcBef>
              <a:buNone/>
              <a:defRPr sz="2500" b="1"/>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9687" y="2133604"/>
            <a:ext cx="5487829" cy="1578619"/>
          </a:xfrm>
        </p:spPr>
        <p:txBody>
          <a:bodyPr/>
          <a:lstStyle>
            <a:lvl1pPr marL="296308" indent="-296308">
              <a:defRPr sz="2300"/>
            </a:lvl1pPr>
            <a:lvl2pPr marL="570131" indent="-273821">
              <a:defRPr sz="2000"/>
            </a:lvl2pPr>
            <a:lvl3pPr marL="821464" indent="-244720">
              <a:defRPr sz="1900"/>
            </a:lvl3pPr>
            <a:lvl4pPr marL="1050311" indent="-236783">
              <a:defRPr sz="1700"/>
            </a:lvl4pPr>
            <a:lvl5pPr marL="1279156" indent="-22090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5811688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5" y="228602"/>
            <a:ext cx="11161444" cy="609399"/>
          </a:xfrm>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42825721"/>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Custom Photo)">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516074" y="1447800"/>
            <a:ext cx="6494565" cy="1524000"/>
          </a:xfrm>
        </p:spPr>
        <p:txBody>
          <a:bodyPr/>
          <a:lstStyle>
            <a:lvl1pPr marL="0" indent="0">
              <a:buNone/>
              <a:defRPr>
                <a:gradFill>
                  <a:gsLst>
                    <a:gs pos="0">
                      <a:schemeClr val="tx1"/>
                    </a:gs>
                    <a:gs pos="86000">
                      <a:schemeClr val="tx1"/>
                    </a:gs>
                  </a:gsLst>
                  <a:lin ang="5400000" scaled="0"/>
                </a:gradFill>
              </a:defRPr>
            </a:lvl1pPr>
          </a:lstStyle>
          <a:p>
            <a:r>
              <a:rPr lang="en-US" dirty="0" smtClean="0"/>
              <a:t>Name</a:t>
            </a:r>
          </a:p>
          <a:p>
            <a:r>
              <a:rPr lang="en-US" dirty="0" smtClean="0"/>
              <a:t>Title</a:t>
            </a:r>
          </a:p>
          <a:p>
            <a:r>
              <a:rPr lang="en-US" dirty="0" smtClean="0"/>
              <a:t>Microsoft Corporation</a:t>
            </a:r>
          </a:p>
        </p:txBody>
      </p:sp>
      <p:sp>
        <p:nvSpPr>
          <p:cNvPr id="5" name="Text Placeholder 2"/>
          <p:cNvSpPr>
            <a:spLocks noGrp="1"/>
          </p:cNvSpPr>
          <p:nvPr>
            <p:ph type="body" sz="quarter" idx="10" hasCustomPrompt="1"/>
          </p:nvPr>
        </p:nvSpPr>
        <p:spPr>
          <a:xfrm>
            <a:off x="516073" y="4191001"/>
            <a:ext cx="11161444" cy="757131"/>
          </a:xfrm>
        </p:spPr>
        <p:txBody>
          <a:bodyPr/>
          <a:lstStyle>
            <a:lvl1pPr marL="0" indent="0" algn="l" defTabSz="914325" rtl="0" eaLnBrk="1" latinLnBrk="0" hangingPunct="1">
              <a:lnSpc>
                <a:spcPct val="90000"/>
              </a:lnSpc>
              <a:spcBef>
                <a:spcPct val="0"/>
              </a:spcBef>
              <a:buNone/>
              <a:defRPr lang="en-US" sz="5500" b="0" kern="1200" cap="none" spc="-100" baseline="0" dirty="0">
                <a:ln w="3175">
                  <a:noFill/>
                </a:ln>
                <a:gradFill flip="none" rotWithShape="1">
                  <a:gsLst>
                    <a:gs pos="0">
                      <a:schemeClr val="bg1"/>
                    </a:gs>
                    <a:gs pos="86000">
                      <a:schemeClr val="bg1"/>
                    </a:gs>
                  </a:gsLst>
                  <a:lin ang="5400000" scaled="0"/>
                  <a:tileRect/>
                </a:gradFill>
                <a:effectLst/>
                <a:latin typeface="Segoe UI Light" pitchFamily="34" charset="0"/>
                <a:ea typeface="Segoe UI" pitchFamily="34" charset="0"/>
                <a:cs typeface="Segoe UI" pitchFamily="34" charset="0"/>
              </a:defRPr>
            </a:lvl1pPr>
          </a:lstStyle>
          <a:p>
            <a:pPr lvl="0"/>
            <a:r>
              <a:rPr lang="en-US" dirty="0" smtClean="0"/>
              <a:t>Title of Presentation</a:t>
            </a:r>
            <a:endParaRPr lang="en-US" dirty="0"/>
          </a:p>
        </p:txBody>
      </p:sp>
      <p:pic>
        <p:nvPicPr>
          <p:cNvPr id="6"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ERVER3\InternalBin\Resource DVD\DVD_ART36\DVD_Art_08-10-2010\Logos\MICROSOFT (brand)\Microsoft corporate logo white.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04919" y="304800"/>
            <a:ext cx="1333848" cy="228600"/>
          </a:xfrm>
          <a:prstGeom prst="rect">
            <a:avLst/>
          </a:prstGeom>
          <a:noFill/>
          <a:extLst>
            <a:ext uri="{909E8E84-426E-40DD-AFC4-6F175D3DCCD1}">
              <a14:hiddenFill xmlns:a14="http://schemas.microsoft.com/office/drawing/2010/main">
                <a:solidFill>
                  <a:srgbClr val="FFFFFF"/>
                </a:solidFill>
              </a14:hiddenFill>
            </a:ext>
          </a:extLst>
        </p:spPr>
      </p:pic>
      <p:sp>
        <p:nvSpPr>
          <p:cNvPr id="4" name="Picture Placeholder 3"/>
          <p:cNvSpPr>
            <a:spLocks noGrp="1"/>
          </p:cNvSpPr>
          <p:nvPr>
            <p:ph type="pic" sz="quarter" idx="13" hasCustomPrompt="1"/>
          </p:nvPr>
        </p:nvSpPr>
        <p:spPr>
          <a:xfrm>
            <a:off x="7258354" y="3451958"/>
            <a:ext cx="4933647" cy="387799"/>
          </a:xfrm>
          <a:solidFill>
            <a:schemeClr val="bg1"/>
          </a:solidFill>
        </p:spPr>
        <p:txBody>
          <a:bodyPr anchor="b"/>
          <a:lstStyle>
            <a:lvl1pPr marL="0" indent="0" algn="ctr">
              <a:buNone/>
              <a:defRPr sz="2800" baseline="0">
                <a:gradFill>
                  <a:gsLst>
                    <a:gs pos="0">
                      <a:schemeClr val="tx1"/>
                    </a:gs>
                    <a:gs pos="86000">
                      <a:schemeClr val="tx1"/>
                    </a:gs>
                  </a:gsLst>
                  <a:lin ang="5400000" scaled="0"/>
                </a:gradFill>
              </a:defRPr>
            </a:lvl1pPr>
          </a:lstStyle>
          <a:p>
            <a:r>
              <a:rPr lang="en-US" dirty="0" smtClean="0"/>
              <a:t>Click on icon to add picture</a:t>
            </a:r>
            <a:endParaRPr lang="en-US" dirty="0"/>
          </a:p>
        </p:txBody>
      </p:sp>
    </p:spTree>
    <p:extLst>
      <p:ext uri="{BB962C8B-B14F-4D97-AF65-F5344CB8AC3E}">
        <p14:creationId xmlns:p14="http://schemas.microsoft.com/office/powerpoint/2010/main" val="209038560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2" y="228602"/>
            <a:ext cx="10646671" cy="609399"/>
          </a:xfrm>
        </p:spPr>
        <p:txBody>
          <a:bodyPr/>
          <a:lstStyle>
            <a:lvl1pPr>
              <a:defRPr/>
            </a:lvl1pPr>
          </a:lstStyle>
          <a:p>
            <a:r>
              <a:rPr lang="en-US" dirty="0" smtClean="0"/>
              <a:t>Click to edit Master title style</a:t>
            </a:r>
            <a:endParaRPr lang="en-US" dirty="0"/>
          </a:p>
        </p:txBody>
      </p:sp>
      <p:sp>
        <p:nvSpPr>
          <p:cNvPr id="5" name="Freeform 15"/>
          <p:cNvSpPr>
            <a:spLocks noEditPoints="1"/>
          </p:cNvSpPr>
          <p:nvPr userDrawn="1"/>
        </p:nvSpPr>
        <p:spPr bwMode="black">
          <a:xfrm>
            <a:off x="582948" y="228601"/>
            <a:ext cx="559700" cy="56019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1"/>
            <a:endParaRPr lang="en-US" sz="1600" dirty="0">
              <a:solidFill>
                <a:srgbClr val="292929"/>
              </a:solidFill>
            </a:endParaRPr>
          </a:p>
        </p:txBody>
      </p:sp>
    </p:spTree>
    <p:extLst>
      <p:ext uri="{BB962C8B-B14F-4D97-AF65-F5344CB8AC3E}">
        <p14:creationId xmlns:p14="http://schemas.microsoft.com/office/powerpoint/2010/main" val="3108933984"/>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2" y="228602"/>
            <a:ext cx="10646671" cy="609399"/>
          </a:xfrm>
        </p:spPr>
        <p:txBody>
          <a:bodyPr/>
          <a:lstStyle>
            <a:lvl1pPr>
              <a:defRPr/>
            </a:lvl1pPr>
          </a:lstStyle>
          <a:p>
            <a:r>
              <a:rPr lang="en-US" dirty="0" smtClean="0"/>
              <a:t>Click to edit Master title style</a:t>
            </a:r>
            <a:endParaRPr lang="en-US" dirty="0"/>
          </a:p>
        </p:txBody>
      </p:sp>
      <p:sp>
        <p:nvSpPr>
          <p:cNvPr id="5" name="Freeform 15"/>
          <p:cNvSpPr>
            <a:spLocks noEditPoints="1"/>
          </p:cNvSpPr>
          <p:nvPr userDrawn="1"/>
        </p:nvSpPr>
        <p:spPr bwMode="black">
          <a:xfrm>
            <a:off x="582948" y="228601"/>
            <a:ext cx="559700" cy="56019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1"/>
            <a:endParaRPr lang="en-US" sz="1600" dirty="0">
              <a:solidFill>
                <a:srgbClr val="292929"/>
              </a:solidFill>
            </a:endParaRPr>
          </a:p>
        </p:txBody>
      </p:sp>
      <p:sp>
        <p:nvSpPr>
          <p:cNvPr id="4" name="Text Placeholder 4"/>
          <p:cNvSpPr>
            <a:spLocks noGrp="1"/>
          </p:cNvSpPr>
          <p:nvPr>
            <p:ph type="body" sz="quarter" idx="10"/>
          </p:nvPr>
        </p:nvSpPr>
        <p:spPr>
          <a:xfrm>
            <a:off x="516075" y="1447801"/>
            <a:ext cx="11161444" cy="2000548"/>
          </a:xfrm>
        </p:spPr>
        <p:txBody>
          <a:bodyPr/>
          <a:lstStyle>
            <a:lvl1pPr marL="0" indent="0">
              <a:buClr>
                <a:schemeClr val="accent2"/>
              </a:buClr>
              <a:buNone/>
              <a:defRPr>
                <a:solidFill>
                  <a:schemeClr val="accent2"/>
                </a:solidFill>
              </a:defRPr>
            </a:lvl1pPr>
            <a:lvl2pPr marL="393700" indent="-393700" defTabSz="915988">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1305371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6" name="Picture 7" descr="\\MAGNUM\Projects\Microsoft\Cloud Power FY12\Design\ICONS_PNG\Rich_user_experience.png"/>
          <p:cNvPicPr>
            <a:picLocks noChangeAspect="1" noChangeArrowheads="1"/>
          </p:cNvPicPr>
          <p:nvPr userDrawn="1"/>
        </p:nvPicPr>
        <p:blipFill>
          <a:blip r:embed="rId2" cstate="print">
            <a:duotone>
              <a:prstClr val="black"/>
              <a:schemeClr val="accent4">
                <a:tint val="45000"/>
                <a:satMod val="400000"/>
              </a:schemeClr>
            </a:duotone>
          </a:blip>
          <a:srcRect/>
          <a:stretch>
            <a:fillRect/>
          </a:stretch>
        </p:blipFill>
        <p:spPr bwMode="auto">
          <a:xfrm>
            <a:off x="441949" y="65685"/>
            <a:ext cx="914638" cy="914400"/>
          </a:xfrm>
          <a:prstGeom prst="rect">
            <a:avLst/>
          </a:prstGeom>
          <a:noFill/>
        </p:spPr>
      </p:pic>
      <p:sp>
        <p:nvSpPr>
          <p:cNvPr id="2" name="Title 1"/>
          <p:cNvSpPr>
            <a:spLocks noGrp="1"/>
          </p:cNvSpPr>
          <p:nvPr>
            <p:ph type="title"/>
          </p:nvPr>
        </p:nvSpPr>
        <p:spPr>
          <a:xfrm>
            <a:off x="1354491" y="228602"/>
            <a:ext cx="10508089" cy="609399"/>
          </a:xfrm>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09302930"/>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Picture 7" descr="\\MAGNUM\Projects\Microsoft\Cloud Power FY12\Design\ICONS_PNG\Rich_user_experience.png"/>
          <p:cNvPicPr>
            <a:picLocks noChangeAspect="1" noChangeArrowheads="1"/>
          </p:cNvPicPr>
          <p:nvPr userDrawn="1"/>
        </p:nvPicPr>
        <p:blipFill>
          <a:blip r:embed="rId2" cstate="print">
            <a:duotone>
              <a:prstClr val="black"/>
              <a:schemeClr val="accent4">
                <a:tint val="45000"/>
                <a:satMod val="400000"/>
              </a:schemeClr>
            </a:duotone>
          </a:blip>
          <a:srcRect/>
          <a:stretch>
            <a:fillRect/>
          </a:stretch>
        </p:blipFill>
        <p:spPr bwMode="auto">
          <a:xfrm>
            <a:off x="441949" y="65685"/>
            <a:ext cx="914638" cy="914400"/>
          </a:xfrm>
          <a:prstGeom prst="rect">
            <a:avLst/>
          </a:prstGeom>
          <a:noFill/>
        </p:spPr>
      </p:pic>
      <p:sp>
        <p:nvSpPr>
          <p:cNvPr id="2" name="Title 1"/>
          <p:cNvSpPr>
            <a:spLocks noGrp="1"/>
          </p:cNvSpPr>
          <p:nvPr>
            <p:ph type="title"/>
          </p:nvPr>
        </p:nvSpPr>
        <p:spPr>
          <a:xfrm>
            <a:off x="1354491" y="228602"/>
            <a:ext cx="10508089" cy="609399"/>
          </a:xfrm>
        </p:spPr>
        <p:txBody>
          <a:bodyPr/>
          <a:lstStyle>
            <a:lvl1pPr>
              <a:defRPr/>
            </a:lvl1pPr>
          </a:lstStyle>
          <a:p>
            <a:r>
              <a:rPr lang="en-US" dirty="0" smtClean="0"/>
              <a:t>Click to edit Master title style</a:t>
            </a:r>
            <a:endParaRPr lang="en-US" dirty="0"/>
          </a:p>
        </p:txBody>
      </p:sp>
      <p:sp>
        <p:nvSpPr>
          <p:cNvPr id="4" name="Text Placeholder 4"/>
          <p:cNvSpPr>
            <a:spLocks noGrp="1"/>
          </p:cNvSpPr>
          <p:nvPr>
            <p:ph type="body" sz="quarter" idx="10"/>
          </p:nvPr>
        </p:nvSpPr>
        <p:spPr>
          <a:xfrm>
            <a:off x="516075" y="1447801"/>
            <a:ext cx="11161444" cy="2000548"/>
          </a:xfrm>
        </p:spPr>
        <p:txBody>
          <a:bodyPr/>
          <a:lstStyle>
            <a:lvl1pPr marL="0" indent="0">
              <a:buClr>
                <a:schemeClr val="accent4">
                  <a:lumMod val="50000"/>
                </a:schemeClr>
              </a:buClr>
              <a:buNone/>
              <a:defRPr>
                <a:solidFill>
                  <a:schemeClr val="accent4">
                    <a:lumMod val="50000"/>
                  </a:schemeClr>
                </a:solidFill>
              </a:defRPr>
            </a:lvl1pPr>
            <a:lvl2pPr marL="403225" indent="-393700">
              <a:buClr>
                <a:schemeClr val="accent4">
                  <a:lumMod val="50000"/>
                </a:schemeClr>
              </a:buClr>
              <a:defRPr/>
            </a:lvl2pPr>
            <a:lvl3pPr>
              <a:buClr>
                <a:schemeClr val="accent4">
                  <a:lumMod val="50000"/>
                </a:schemeClr>
              </a:buClr>
              <a:defRPr/>
            </a:lvl3pPr>
            <a:lvl4pPr>
              <a:buClr>
                <a:schemeClr val="accent4">
                  <a:lumMod val="50000"/>
                </a:schemeClr>
              </a:buClr>
              <a:defRPr/>
            </a:lvl4pPr>
            <a:lvl5pPr>
              <a:buClr>
                <a:schemeClr val="accent4">
                  <a:lumMod val="5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8273016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1" y="228602"/>
            <a:ext cx="10660529" cy="609399"/>
          </a:xfrm>
        </p:spPr>
        <p:txBody>
          <a:bodyPr/>
          <a:lstStyle>
            <a:lvl1pPr>
              <a:defRPr/>
            </a:lvl1pPr>
          </a:lstStyle>
          <a:p>
            <a:r>
              <a:rPr lang="en-US" dirty="0" smtClean="0"/>
              <a:t>Click to edit Master title style</a:t>
            </a:r>
            <a:endParaRPr lang="en-US" dirty="0"/>
          </a:p>
        </p:txBody>
      </p:sp>
      <p:grpSp>
        <p:nvGrpSpPr>
          <p:cNvPr id="7" name="Group 6"/>
          <p:cNvGrpSpPr/>
          <p:nvPr userDrawn="1"/>
        </p:nvGrpSpPr>
        <p:grpSpPr bwMode="black">
          <a:xfrm>
            <a:off x="541479" y="228600"/>
            <a:ext cx="611447" cy="495999"/>
            <a:chOff x="813584" y="4312262"/>
            <a:chExt cx="478309" cy="370027"/>
          </a:xfrm>
          <a:solidFill>
            <a:srgbClr val="FF8200"/>
          </a:solidFill>
        </p:grpSpPr>
        <p:sp>
          <p:nvSpPr>
            <p:cNvPr id="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sp>
          <p:nvSpPr>
            <p:cNvPr id="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grpSp>
    </p:spTree>
    <p:extLst>
      <p:ext uri="{BB962C8B-B14F-4D97-AF65-F5344CB8AC3E}">
        <p14:creationId xmlns:p14="http://schemas.microsoft.com/office/powerpoint/2010/main" val="185825417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1" y="228602"/>
            <a:ext cx="10660529" cy="609399"/>
          </a:xfrm>
        </p:spPr>
        <p:txBody>
          <a:bodyPr/>
          <a:lstStyle>
            <a:lvl1pPr>
              <a:defRPr/>
            </a:lvl1pPr>
          </a:lstStyle>
          <a:p>
            <a:r>
              <a:rPr lang="en-US" dirty="0" smtClean="0"/>
              <a:t>Click to edit Master title style</a:t>
            </a:r>
            <a:endParaRPr lang="en-US" dirty="0"/>
          </a:p>
        </p:txBody>
      </p:sp>
      <p:grpSp>
        <p:nvGrpSpPr>
          <p:cNvPr id="7" name="Group 6"/>
          <p:cNvGrpSpPr/>
          <p:nvPr userDrawn="1"/>
        </p:nvGrpSpPr>
        <p:grpSpPr bwMode="black">
          <a:xfrm>
            <a:off x="541479" y="228600"/>
            <a:ext cx="611447" cy="495999"/>
            <a:chOff x="813584" y="4312262"/>
            <a:chExt cx="478309" cy="370027"/>
          </a:xfrm>
          <a:solidFill>
            <a:srgbClr val="FF8200"/>
          </a:solidFill>
        </p:grpSpPr>
        <p:sp>
          <p:nvSpPr>
            <p:cNvPr id="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sp>
          <p:nvSpPr>
            <p:cNvPr id="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grpSp>
      <p:sp>
        <p:nvSpPr>
          <p:cNvPr id="6" name="Text Placeholder 4"/>
          <p:cNvSpPr>
            <a:spLocks noGrp="1"/>
          </p:cNvSpPr>
          <p:nvPr>
            <p:ph type="body" sz="quarter" idx="10"/>
          </p:nvPr>
        </p:nvSpPr>
        <p:spPr>
          <a:xfrm>
            <a:off x="516075" y="1447801"/>
            <a:ext cx="11161444" cy="2000548"/>
          </a:xfrm>
        </p:spPr>
        <p:txBody>
          <a:bodyPr/>
          <a:lstStyle>
            <a:lvl1pPr marL="0" indent="0">
              <a:buClr>
                <a:srgbClr val="FF8200"/>
              </a:buClr>
              <a:buNone/>
              <a:defRPr>
                <a:solidFill>
                  <a:srgbClr val="FF8200"/>
                </a:solidFill>
              </a:defRPr>
            </a:lvl1pPr>
            <a:lvl2pPr marL="393700" indent="-393700" defTabSz="744538">
              <a:buClr>
                <a:srgbClr val="FF8200"/>
              </a:buClr>
              <a:defRPr/>
            </a:lvl2pPr>
            <a:lvl3pPr>
              <a:buClr>
                <a:srgbClr val="FF8200"/>
              </a:buClr>
              <a:defRPr/>
            </a:lvl3pPr>
            <a:lvl4pPr>
              <a:buClr>
                <a:srgbClr val="FF8200"/>
              </a:buClr>
              <a:defRPr/>
            </a:lvl4pPr>
            <a:lvl5pPr>
              <a:buClr>
                <a:srgbClr val="FF8200"/>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34492719"/>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6259195"/>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6" cy="701731"/>
          </a:xfrm>
        </p:spPr>
        <p:txBody>
          <a:bodyPr tIns="91428"/>
          <a:lstStyle>
            <a:lvl1pPr>
              <a:defRPr spc="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51" y="1447799"/>
            <a:ext cx="11151916" cy="2000548"/>
          </a:xfrm>
        </p:spPr>
        <p:txBody>
          <a:bodyPr/>
          <a:lstStyle>
            <a:lvl1pPr marL="460315" indent="-460315">
              <a:buFont typeface="Arial" pitchFamily="34" charset="0"/>
              <a:buChar char="•"/>
              <a:defRPr/>
            </a:lvl1pPr>
            <a:lvl2pPr marL="855557" indent="-395240">
              <a:buFont typeface="Arial" pitchFamily="34" charset="0"/>
              <a:buChar char="•"/>
              <a:defRPr/>
            </a:lvl2pPr>
            <a:lvl3pPr marL="1258732" indent="-403175">
              <a:buFont typeface="Arial" pitchFamily="34" charset="0"/>
              <a:buChar char="•"/>
              <a:defRPr/>
            </a:lvl3pPr>
            <a:lvl4pPr marL="1604760" indent="-346031">
              <a:buFont typeface="Arial" pitchFamily="34" charset="0"/>
              <a:buChar char="•"/>
              <a:defRPr/>
            </a:lvl4pPr>
            <a:lvl5pPr marL="1941270" indent="-336508">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userDrawn="1"/>
        </p:nvCxnSpPr>
        <p:spPr>
          <a:xfrm>
            <a:off x="531957" y="990600"/>
            <a:ext cx="1112809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081585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Slide Solid">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4"/>
            <a:ext cx="12191377" cy="6858623"/>
          </a:xfrm>
          <a:prstGeom prst="rect">
            <a:avLst/>
          </a:prstGeom>
        </p:spPr>
      </p:pic>
      <p:sp>
        <p:nvSpPr>
          <p:cNvPr id="10" name="Freeform 9"/>
          <p:cNvSpPr/>
          <p:nvPr userDrawn="1"/>
        </p:nvSpPr>
        <p:spPr bwMode="auto">
          <a:xfrm rot="19623283">
            <a:off x="-2729068" y="-1972230"/>
            <a:ext cx="13344813" cy="6091217"/>
          </a:xfrm>
          <a:custGeom>
            <a:avLst/>
            <a:gdLst>
              <a:gd name="connsiteX0" fmla="*/ 4026000 w 13612405"/>
              <a:gd name="connsiteY0" fmla="*/ 0 h 6212477"/>
              <a:gd name="connsiteX1" fmla="*/ 13612405 w 13612405"/>
              <a:gd name="connsiteY1" fmla="*/ 6212477 h 6212477"/>
              <a:gd name="connsiteX2" fmla="*/ 0 w 13612405"/>
              <a:gd name="connsiteY2" fmla="*/ 6212477 h 6212477"/>
            </a:gdLst>
            <a:ahLst/>
            <a:cxnLst>
              <a:cxn ang="0">
                <a:pos x="connsiteX0" y="connsiteY0"/>
              </a:cxn>
              <a:cxn ang="0">
                <a:pos x="connsiteX1" y="connsiteY1"/>
              </a:cxn>
              <a:cxn ang="0">
                <a:pos x="connsiteX2" y="connsiteY2"/>
              </a:cxn>
            </a:cxnLst>
            <a:rect l="l" t="t" r="r" b="b"/>
            <a:pathLst>
              <a:path w="13612405" h="6212477">
                <a:moveTo>
                  <a:pt x="4026000" y="0"/>
                </a:moveTo>
                <a:lnTo>
                  <a:pt x="13612405" y="6212477"/>
                </a:lnTo>
                <a:lnTo>
                  <a:pt x="0" y="6212477"/>
                </a:lnTo>
                <a:close/>
              </a:path>
            </a:pathLst>
          </a:custGeom>
          <a:gradFill>
            <a:gsLst>
              <a:gs pos="62000">
                <a:schemeClr val="bg1">
                  <a:alpha val="44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3" rIns="179191" bIns="143353" numCol="1" spcCol="0" rtlCol="0" fromWordArt="0" anchor="t" anchorCtr="0" forceAA="0" compatLnSpc="1">
            <a:prstTxWarp prst="textNoShape">
              <a:avLst/>
            </a:prstTxWarp>
            <a:noAutofit/>
          </a:bodyPr>
          <a:lstStyle/>
          <a:p>
            <a:pPr algn="ctr" defTabSz="913693" fontAlgn="base">
              <a:lnSpc>
                <a:spcPct val="90000"/>
              </a:lnSpc>
              <a:spcBef>
                <a:spcPct val="0"/>
              </a:spcBef>
              <a:spcAft>
                <a:spcPct val="0"/>
              </a:spcAft>
            </a:pPr>
            <a:endParaRPr lang="en-US" sz="2352" dirty="0" err="1">
              <a:gradFill>
                <a:gsLst>
                  <a:gs pos="62000">
                    <a:srgbClr val="0072C6">
                      <a:lumMod val="50000"/>
                    </a:srgbClr>
                  </a:gs>
                  <a:gs pos="100000">
                    <a:srgbClr val="0072C6">
                      <a:lumMod val="50000"/>
                    </a:srgbClr>
                  </a:gs>
                </a:gsLst>
                <a:lin ang="5400000" scaled="0"/>
              </a:gradFill>
              <a:ea typeface="Segoe UI" pitchFamily="34" charset="0"/>
              <a:cs typeface="Segoe UI" pitchFamily="34" charset="0"/>
            </a:endParaRPr>
          </a:p>
        </p:txBody>
      </p:sp>
      <p:sp>
        <p:nvSpPr>
          <p:cNvPr id="5" name="Rectangle 4"/>
          <p:cNvSpPr/>
          <p:nvPr userDrawn="1"/>
        </p:nvSpPr>
        <p:spPr bwMode="auto">
          <a:xfrm>
            <a:off x="268462" y="289515"/>
            <a:ext cx="6276530" cy="6277421"/>
          </a:xfrm>
          <a:prstGeom prst="rect">
            <a:avLst/>
          </a:prstGeom>
          <a:solidFill>
            <a:srgbClr val="0072C6">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3" rIns="179191" bIns="143353" numCol="1" spcCol="0" rtlCol="0" fromWordArt="0" anchor="t" anchorCtr="0" forceAA="0" compatLnSpc="1">
            <a:prstTxWarp prst="textNoShape">
              <a:avLst/>
            </a:prstTxWarp>
            <a:noAutofit/>
          </a:bodyPr>
          <a:lstStyle/>
          <a:p>
            <a:pPr algn="ctr" defTabSz="91369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14512" y="524489"/>
            <a:ext cx="1230696" cy="269713"/>
          </a:xfrm>
          <a:prstGeom prst="rect">
            <a:avLst/>
          </a:prstGeom>
        </p:spPr>
      </p:pic>
      <p:sp>
        <p:nvSpPr>
          <p:cNvPr id="4" name="TextBox 3"/>
          <p:cNvSpPr txBox="1"/>
          <p:nvPr userDrawn="1"/>
        </p:nvSpPr>
        <p:spPr>
          <a:xfrm>
            <a:off x="-1460715" y="-1626830"/>
            <a:ext cx="896425" cy="896552"/>
          </a:xfrm>
          <a:prstGeom prst="rect">
            <a:avLst/>
          </a:prstGeom>
          <a:noFill/>
        </p:spPr>
        <p:txBody>
          <a:bodyPr wrap="none" lIns="179191" tIns="143353" rIns="179191" bIns="143353" rtlCol="0">
            <a:noAutofit/>
          </a:bodyPr>
          <a:lstStyle/>
          <a:p>
            <a:pPr defTabSz="1096589">
              <a:lnSpc>
                <a:spcPct val="90000"/>
              </a:lnSpc>
              <a:spcAft>
                <a:spcPts val="588"/>
              </a:spcAft>
            </a:pPr>
            <a:endParaRPr lang="en-US" sz="2352" dirty="0">
              <a:gradFill>
                <a:gsLst>
                  <a:gs pos="2917">
                    <a:prstClr val="black"/>
                  </a:gs>
                  <a:gs pos="30000">
                    <a:prstClr val="black"/>
                  </a:gs>
                </a:gsLst>
                <a:lin ang="5400000" scaled="0"/>
              </a:gradFill>
            </a:endParaRPr>
          </a:p>
        </p:txBody>
      </p:sp>
      <p:sp>
        <p:nvSpPr>
          <p:cNvPr id="17" name="Title 1"/>
          <p:cNvSpPr>
            <a:spLocks noGrp="1"/>
          </p:cNvSpPr>
          <p:nvPr>
            <p:ph type="ctrTitle" hasCustomPrompt="1"/>
          </p:nvPr>
        </p:nvSpPr>
        <p:spPr>
          <a:xfrm>
            <a:off x="375953" y="1413020"/>
            <a:ext cx="5042713" cy="705514"/>
          </a:xfrm>
        </p:spPr>
        <p:txBody>
          <a:bodyPr/>
          <a:lstStyle>
            <a:lvl1pPr>
              <a:defRPr sz="5094"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9" name="Subtitle 2"/>
          <p:cNvSpPr>
            <a:spLocks noGrp="1"/>
          </p:cNvSpPr>
          <p:nvPr>
            <p:ph type="subTitle" idx="1" hasCustomPrompt="1"/>
          </p:nvPr>
        </p:nvSpPr>
        <p:spPr>
          <a:xfrm>
            <a:off x="376017" y="4212569"/>
            <a:ext cx="7680957" cy="641201"/>
          </a:xfrm>
        </p:spPr>
        <p:txBody>
          <a:bodyPr anchor="ctr"/>
          <a:lstStyle>
            <a:lvl1pPr marL="0" indent="0" algn="l">
              <a:lnSpc>
                <a:spcPts val="2547"/>
              </a:lnSpc>
              <a:buNone/>
              <a:defRPr sz="1568">
                <a:solidFill>
                  <a:schemeClr val="bg1"/>
                </a:solidFill>
                <a:latin typeface="+mj-lt"/>
              </a:defRPr>
            </a:lvl1pPr>
            <a:lvl2pPr marL="447992" indent="0" algn="ctr">
              <a:buNone/>
              <a:defRPr>
                <a:solidFill>
                  <a:schemeClr val="tx1">
                    <a:tint val="75000"/>
                  </a:schemeClr>
                </a:solidFill>
              </a:defRPr>
            </a:lvl2pPr>
            <a:lvl3pPr marL="895985" indent="0" algn="ctr">
              <a:buNone/>
              <a:defRPr>
                <a:solidFill>
                  <a:schemeClr val="tx1">
                    <a:tint val="75000"/>
                  </a:schemeClr>
                </a:solidFill>
              </a:defRPr>
            </a:lvl3pPr>
            <a:lvl4pPr marL="1343977" indent="0" algn="ctr">
              <a:buNone/>
              <a:defRPr>
                <a:solidFill>
                  <a:schemeClr val="tx1">
                    <a:tint val="75000"/>
                  </a:schemeClr>
                </a:solidFill>
              </a:defRPr>
            </a:lvl4pPr>
            <a:lvl5pPr marL="1791970" indent="0" algn="ctr">
              <a:buNone/>
              <a:defRPr>
                <a:solidFill>
                  <a:schemeClr val="tx1">
                    <a:tint val="75000"/>
                  </a:schemeClr>
                </a:solidFill>
              </a:defRPr>
            </a:lvl5pPr>
            <a:lvl6pPr marL="2239962" indent="0" algn="ctr">
              <a:buNone/>
              <a:defRPr>
                <a:solidFill>
                  <a:schemeClr val="tx1">
                    <a:tint val="75000"/>
                  </a:schemeClr>
                </a:solidFill>
              </a:defRPr>
            </a:lvl6pPr>
            <a:lvl7pPr marL="2687953" indent="0" algn="ctr">
              <a:buNone/>
              <a:defRPr>
                <a:solidFill>
                  <a:schemeClr val="tx1">
                    <a:tint val="75000"/>
                  </a:schemeClr>
                </a:solidFill>
              </a:defRPr>
            </a:lvl7pPr>
            <a:lvl8pPr marL="3135947" indent="0" algn="ctr">
              <a:buNone/>
              <a:defRPr>
                <a:solidFill>
                  <a:schemeClr val="tx1">
                    <a:tint val="75000"/>
                  </a:schemeClr>
                </a:solidFill>
              </a:defRPr>
            </a:lvl8pPr>
            <a:lvl9pPr marL="358393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56953458"/>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516074" y="1447800"/>
            <a:ext cx="6494565" cy="1524000"/>
          </a:xfrm>
        </p:spPr>
        <p:txBody>
          <a:bodyPr/>
          <a:lstStyle>
            <a:lvl1pPr marL="0" indent="0">
              <a:buNone/>
              <a:defRPr>
                <a:gradFill>
                  <a:gsLst>
                    <a:gs pos="0">
                      <a:schemeClr val="tx1"/>
                    </a:gs>
                    <a:gs pos="86000">
                      <a:schemeClr val="tx1"/>
                    </a:gs>
                  </a:gsLst>
                  <a:lin ang="5400000" scaled="0"/>
                </a:gradFill>
              </a:defRPr>
            </a:lvl1pPr>
          </a:lstStyle>
          <a:p>
            <a:r>
              <a:rPr lang="en-US" dirty="0" smtClean="0"/>
              <a:t>Name</a:t>
            </a:r>
          </a:p>
          <a:p>
            <a:r>
              <a:rPr lang="en-US" dirty="0" smtClean="0"/>
              <a:t>Title</a:t>
            </a:r>
          </a:p>
          <a:p>
            <a:r>
              <a:rPr lang="en-US" dirty="0" smtClean="0"/>
              <a:t>Microsoft Corporation</a:t>
            </a:r>
          </a:p>
        </p:txBody>
      </p:sp>
      <p:sp>
        <p:nvSpPr>
          <p:cNvPr id="5" name="Text Placeholder 2"/>
          <p:cNvSpPr>
            <a:spLocks noGrp="1"/>
          </p:cNvSpPr>
          <p:nvPr>
            <p:ph type="body" sz="quarter" idx="10" hasCustomPrompt="1"/>
          </p:nvPr>
        </p:nvSpPr>
        <p:spPr>
          <a:xfrm>
            <a:off x="516075" y="4191001"/>
            <a:ext cx="11161444" cy="757131"/>
          </a:xfrm>
        </p:spPr>
        <p:txBody>
          <a:bodyPr/>
          <a:lstStyle>
            <a:lvl1pPr marL="0" indent="0" algn="l" defTabSz="914325" rtl="0" eaLnBrk="1" latinLnBrk="0" hangingPunct="1">
              <a:lnSpc>
                <a:spcPct val="90000"/>
              </a:lnSpc>
              <a:spcBef>
                <a:spcPct val="0"/>
              </a:spcBef>
              <a:buNone/>
              <a:defRPr lang="en-US" sz="5500" b="0" kern="1200" cap="none" spc="-100" baseline="0" dirty="0">
                <a:ln w="3175">
                  <a:noFill/>
                </a:ln>
                <a:gradFill flip="none" rotWithShape="1">
                  <a:gsLst>
                    <a:gs pos="0">
                      <a:schemeClr val="bg1"/>
                    </a:gs>
                    <a:gs pos="86000">
                      <a:schemeClr val="bg1"/>
                    </a:gs>
                  </a:gsLst>
                  <a:lin ang="5400000" scaled="0"/>
                  <a:tileRect/>
                </a:gradFill>
                <a:effectLst/>
                <a:latin typeface="Segoe UI Light" pitchFamily="34" charset="0"/>
                <a:ea typeface="Segoe UI" pitchFamily="34" charset="0"/>
                <a:cs typeface="Segoe UI" pitchFamily="34" charset="0"/>
              </a:defRPr>
            </a:lvl1pPr>
          </a:lstStyle>
          <a:p>
            <a:pPr lvl="0"/>
            <a:r>
              <a:rPr lang="en-US" dirty="0" smtClean="0"/>
              <a:t>Title of Presentation</a:t>
            </a:r>
            <a:endParaRPr lang="en-US" dirty="0"/>
          </a:p>
        </p:txBody>
      </p:sp>
      <p:pic>
        <p:nvPicPr>
          <p:cNvPr id="6"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1"/>
            <a:ext cx="3216311" cy="1182791"/>
          </a:xfrm>
          <a:prstGeom prst="rect">
            <a:avLst/>
          </a:prstGeom>
        </p:spPr>
      </p:pic>
    </p:spTree>
    <p:extLst>
      <p:ext uri="{BB962C8B-B14F-4D97-AF65-F5344CB8AC3E}">
        <p14:creationId xmlns:p14="http://schemas.microsoft.com/office/powerpoint/2010/main" val="14469648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8480" cy="664797"/>
          </a:xfrm>
        </p:spPr>
        <p:txBody>
          <a:bodyPr wrap="square"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7133530"/>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Custom Photo)">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516074" y="1447800"/>
            <a:ext cx="6494565" cy="1524000"/>
          </a:xfrm>
        </p:spPr>
        <p:txBody>
          <a:bodyPr/>
          <a:lstStyle>
            <a:lvl1pPr marL="0" indent="0">
              <a:buNone/>
              <a:defRPr>
                <a:gradFill>
                  <a:gsLst>
                    <a:gs pos="0">
                      <a:schemeClr val="tx1"/>
                    </a:gs>
                    <a:gs pos="86000">
                      <a:schemeClr val="tx1"/>
                    </a:gs>
                  </a:gsLst>
                  <a:lin ang="5400000" scaled="0"/>
                </a:gradFill>
              </a:defRPr>
            </a:lvl1pPr>
          </a:lstStyle>
          <a:p>
            <a:r>
              <a:rPr lang="en-US" dirty="0" smtClean="0"/>
              <a:t>Name</a:t>
            </a:r>
          </a:p>
          <a:p>
            <a:r>
              <a:rPr lang="en-US" dirty="0" smtClean="0"/>
              <a:t>Title</a:t>
            </a:r>
          </a:p>
          <a:p>
            <a:r>
              <a:rPr lang="en-US" dirty="0" smtClean="0"/>
              <a:t>Microsoft Corporation</a:t>
            </a:r>
          </a:p>
        </p:txBody>
      </p:sp>
      <p:sp>
        <p:nvSpPr>
          <p:cNvPr id="5" name="Text Placeholder 2"/>
          <p:cNvSpPr>
            <a:spLocks noGrp="1"/>
          </p:cNvSpPr>
          <p:nvPr>
            <p:ph type="body" sz="quarter" idx="10" hasCustomPrompt="1"/>
          </p:nvPr>
        </p:nvSpPr>
        <p:spPr>
          <a:xfrm>
            <a:off x="516073" y="4191001"/>
            <a:ext cx="11161444" cy="757131"/>
          </a:xfrm>
        </p:spPr>
        <p:txBody>
          <a:bodyPr/>
          <a:lstStyle>
            <a:lvl1pPr marL="0" indent="0" algn="l" defTabSz="914325" rtl="0" eaLnBrk="1" latinLnBrk="0" hangingPunct="1">
              <a:lnSpc>
                <a:spcPct val="90000"/>
              </a:lnSpc>
              <a:spcBef>
                <a:spcPct val="0"/>
              </a:spcBef>
              <a:buNone/>
              <a:defRPr lang="en-US" sz="5500" b="0" kern="1200" cap="none" spc="-100" baseline="0" dirty="0">
                <a:ln w="3175">
                  <a:noFill/>
                </a:ln>
                <a:gradFill flip="none" rotWithShape="1">
                  <a:gsLst>
                    <a:gs pos="0">
                      <a:schemeClr val="bg1"/>
                    </a:gs>
                    <a:gs pos="86000">
                      <a:schemeClr val="bg1"/>
                    </a:gs>
                  </a:gsLst>
                  <a:lin ang="5400000" scaled="0"/>
                  <a:tileRect/>
                </a:gradFill>
                <a:effectLst/>
                <a:latin typeface="Segoe UI Light" pitchFamily="34" charset="0"/>
                <a:ea typeface="Segoe UI" pitchFamily="34" charset="0"/>
                <a:cs typeface="Segoe UI" pitchFamily="34" charset="0"/>
              </a:defRPr>
            </a:lvl1pPr>
          </a:lstStyle>
          <a:p>
            <a:pPr lvl="0"/>
            <a:r>
              <a:rPr lang="en-US" dirty="0" smtClean="0"/>
              <a:t>Title of Presentation</a:t>
            </a:r>
            <a:endParaRPr lang="en-US" dirty="0"/>
          </a:p>
        </p:txBody>
      </p:sp>
      <p:pic>
        <p:nvPicPr>
          <p:cNvPr id="6"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ERVER3\InternalBin\Resource DVD\DVD_ART36\DVD_Art_08-10-2010\Logos\MICROSOFT (brand)\Microsoft corporate logo white.png"/>
          <p:cNvPicPr>
            <a:picLocks noChangeAspect="1" noChangeArrowheads="1"/>
          </p:cNvPicPr>
          <p:nvPr userDrawn="1"/>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04919" y="304800"/>
            <a:ext cx="1333848" cy="228600"/>
          </a:xfrm>
          <a:prstGeom prst="rect">
            <a:avLst/>
          </a:prstGeom>
          <a:noFill/>
          <a:extLst>
            <a:ext uri="{909E8E84-426E-40DD-AFC4-6F175D3DCCD1}">
              <a14:hiddenFill xmlns:a14="http://schemas.microsoft.com/office/drawing/2010/main">
                <a:solidFill>
                  <a:srgbClr val="FFFFFF"/>
                </a:solidFill>
              </a14:hiddenFill>
            </a:ext>
          </a:extLst>
        </p:spPr>
      </p:pic>
      <p:sp>
        <p:nvSpPr>
          <p:cNvPr id="4" name="Picture Placeholder 3"/>
          <p:cNvSpPr>
            <a:spLocks noGrp="1"/>
          </p:cNvSpPr>
          <p:nvPr>
            <p:ph type="pic" sz="quarter" idx="13" hasCustomPrompt="1"/>
          </p:nvPr>
        </p:nvSpPr>
        <p:spPr>
          <a:xfrm>
            <a:off x="7258354" y="3451958"/>
            <a:ext cx="4933647" cy="387799"/>
          </a:xfrm>
          <a:solidFill>
            <a:schemeClr val="bg1"/>
          </a:solidFill>
        </p:spPr>
        <p:txBody>
          <a:bodyPr anchor="b"/>
          <a:lstStyle>
            <a:lvl1pPr marL="0" indent="0" algn="ctr">
              <a:buNone/>
              <a:defRPr sz="2800" baseline="0">
                <a:gradFill>
                  <a:gsLst>
                    <a:gs pos="0">
                      <a:schemeClr val="tx1"/>
                    </a:gs>
                    <a:gs pos="86000">
                      <a:schemeClr val="tx1"/>
                    </a:gs>
                  </a:gsLst>
                  <a:lin ang="5400000" scaled="0"/>
                </a:gradFill>
              </a:defRPr>
            </a:lvl1pPr>
          </a:lstStyle>
          <a:p>
            <a:r>
              <a:rPr lang="en-US" dirty="0" smtClean="0"/>
              <a:t>Click on icon to add picture</a:t>
            </a:r>
            <a:endParaRPr lang="en-US" dirty="0"/>
          </a:p>
        </p:txBody>
      </p:sp>
    </p:spTree>
    <p:extLst>
      <p:ext uri="{BB962C8B-B14F-4D97-AF65-F5344CB8AC3E}">
        <p14:creationId xmlns:p14="http://schemas.microsoft.com/office/powerpoint/2010/main" val="3827264643"/>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8480" cy="664797"/>
          </a:xfrm>
        </p:spPr>
        <p:txBody>
          <a:bodyPr wrap="square"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567250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1"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08963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074877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1"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2" y="4604659"/>
            <a:ext cx="9238480"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412511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099765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012163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905526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38363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8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53981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1"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8002912"/>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9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2747413"/>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xxx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3" name="Rectangle 12"/>
          <p:cNvSpPr/>
          <p:nvPr userDrawn="1"/>
        </p:nvSpPr>
        <p:spPr bwMode="auto">
          <a:xfrm>
            <a:off x="1" y="0"/>
            <a:ext cx="12192000" cy="4419600"/>
          </a:xfrm>
          <a:prstGeom prst="rect">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Picture Placeholder 11"/>
          <p:cNvSpPr>
            <a:spLocks noGrp="1"/>
          </p:cNvSpPr>
          <p:nvPr>
            <p:ph type="pic" sz="quarter" idx="11" hasCustomPrompt="1"/>
          </p:nvPr>
        </p:nvSpPr>
        <p:spPr>
          <a:xfrm>
            <a:off x="1" y="3976403"/>
            <a:ext cx="12192000" cy="443199"/>
          </a:xfrm>
        </p:spPr>
        <p:txBody>
          <a:bodyPr anchor="b"/>
          <a:lstStyle>
            <a:lvl1pPr marL="0" indent="0" algn="ctr">
              <a:buNone/>
              <a:defRPr baseline="0">
                <a:gradFill>
                  <a:gsLst>
                    <a:gs pos="0">
                      <a:schemeClr val="tx2"/>
                    </a:gs>
                    <a:gs pos="86000">
                      <a:schemeClr val="tx2"/>
                    </a:gs>
                  </a:gsLst>
                  <a:lin ang="5400000" scaled="0"/>
                </a:gradFill>
              </a:defRPr>
            </a:lvl1pPr>
          </a:lstStyle>
          <a:p>
            <a:r>
              <a:rPr lang="en-US" dirty="0" smtClean="0"/>
              <a:t>Click on icon to change picture</a:t>
            </a:r>
            <a:endParaRPr lang="en-US" dirty="0"/>
          </a:p>
        </p:txBody>
      </p:sp>
      <p:sp>
        <p:nvSpPr>
          <p:cNvPr id="10" name="Title 1"/>
          <p:cNvSpPr>
            <a:spLocks noGrp="1"/>
          </p:cNvSpPr>
          <p:nvPr>
            <p:ph type="ctrTitle"/>
          </p:nvPr>
        </p:nvSpPr>
        <p:spPr>
          <a:xfrm>
            <a:off x="516073" y="5959292"/>
            <a:ext cx="9237846" cy="664797"/>
          </a:xfrm>
        </p:spPr>
        <p:txBody>
          <a:bodyPr anchor="ctr" anchorCtr="0">
            <a:no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7254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6075" y="1447801"/>
            <a:ext cx="11161444" cy="2000548"/>
          </a:xfrm>
        </p:spPr>
        <p:txBody>
          <a:bodyPr/>
          <a:lstStyle>
            <a:lvl1pPr marL="0" indent="0">
              <a:buNone/>
              <a:defRPr>
                <a:solidFill>
                  <a:srgbClr val="00AEEF"/>
                </a:solidFill>
              </a:defRPr>
            </a:lvl1pPr>
            <a:lvl2pPr marL="403225" indent="-393700" defTabSz="1025525">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9916869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dirty="0" smtClean="0"/>
              <a:t>Click to edit Master title style</a:t>
            </a:r>
            <a:endParaRPr lang="en-US" dirty="0"/>
          </a:p>
        </p:txBody>
      </p:sp>
      <p:sp>
        <p:nvSpPr>
          <p:cNvPr id="3" name="Content Placeholder 2"/>
          <p:cNvSpPr>
            <a:spLocks noGrp="1"/>
          </p:cNvSpPr>
          <p:nvPr>
            <p:ph idx="1"/>
          </p:nvPr>
        </p:nvSpPr>
        <p:spPr>
          <a:xfrm>
            <a:off x="516073" y="1447801"/>
            <a:ext cx="11161443" cy="2000548"/>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8139668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6073" y="1447801"/>
            <a:ext cx="11161443" cy="2000548"/>
          </a:xfrm>
        </p:spPr>
        <p:txBody>
          <a:bodyPr/>
          <a:lstStyle>
            <a:lvl1pPr marL="0" indent="0">
              <a:lnSpc>
                <a:spcPct val="90000"/>
              </a:lnSpc>
              <a:buClr>
                <a:srgbClr val="FF8200"/>
              </a:buClr>
              <a:buNone/>
              <a:defRPr>
                <a:solidFill>
                  <a:srgbClr val="FF8200"/>
                </a:solidFill>
              </a:defRPr>
            </a:lvl1pPr>
            <a:lvl2pPr marL="403225" indent="-393700" defTabSz="1025525">
              <a:lnSpc>
                <a:spcPct val="90000"/>
              </a:lnSpc>
              <a:buClr>
                <a:srgbClr val="FF8200"/>
              </a:buClr>
              <a:defRPr/>
            </a:lvl2pPr>
            <a:lvl3pPr>
              <a:lnSpc>
                <a:spcPct val="90000"/>
              </a:lnSpc>
              <a:buClr>
                <a:srgbClr val="FF8200"/>
              </a:buClr>
              <a:defRPr/>
            </a:lvl3pPr>
            <a:lvl4pPr>
              <a:lnSpc>
                <a:spcPct val="90000"/>
              </a:lnSpc>
              <a:buClr>
                <a:srgbClr val="FF8200"/>
              </a:buClr>
              <a:defRPr/>
            </a:lvl4pPr>
            <a:lvl5pPr>
              <a:lnSpc>
                <a:spcPct val="90000"/>
              </a:lnSpc>
              <a:buClr>
                <a:srgbClr val="FF8200"/>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7522138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6074" y="1447803"/>
            <a:ext cx="5491005" cy="1764585"/>
          </a:xfrm>
        </p:spPr>
        <p:txBody>
          <a:bodyPr/>
          <a:lstStyle>
            <a:lvl1pPr marL="339962" indent="-339962">
              <a:lnSpc>
                <a:spcPct val="90000"/>
              </a:lnSpc>
              <a:defRPr sz="2800"/>
            </a:lvl1pPr>
            <a:lvl2pPr marL="673310" indent="-325411">
              <a:lnSpc>
                <a:spcPct val="90000"/>
              </a:lnSpc>
              <a:defRPr sz="2400"/>
            </a:lvl2pPr>
            <a:lvl3pPr marL="953745" indent="-288372">
              <a:lnSpc>
                <a:spcPct val="90000"/>
              </a:lnSpc>
              <a:defRPr sz="2000"/>
            </a:lvl3pPr>
            <a:lvl4pPr marL="1227566" indent="-273821">
              <a:lnSpc>
                <a:spcPct val="90000"/>
              </a:lnSpc>
              <a:defRPr sz="1900"/>
            </a:lvl4pPr>
            <a:lvl5pPr marL="1515939" indent="-280435">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3335" y="1447803"/>
            <a:ext cx="5494182" cy="1764585"/>
          </a:xfrm>
        </p:spPr>
        <p:txBody>
          <a:bodyPr/>
          <a:lstStyle>
            <a:lvl1pPr marL="347899" indent="-347899">
              <a:lnSpc>
                <a:spcPct val="90000"/>
              </a:lnSpc>
              <a:defRPr sz="2800"/>
            </a:lvl1pPr>
            <a:lvl2pPr marL="673310" indent="-339962">
              <a:lnSpc>
                <a:spcPct val="90000"/>
              </a:lnSpc>
              <a:defRPr sz="2400"/>
            </a:lvl2pPr>
            <a:lvl3pPr marL="961682" indent="-302923">
              <a:lnSpc>
                <a:spcPct val="90000"/>
              </a:lnSpc>
              <a:defRPr sz="2000"/>
            </a:lvl3pPr>
            <a:lvl4pPr marL="1227566" indent="-265885">
              <a:lnSpc>
                <a:spcPct val="90000"/>
              </a:lnSpc>
              <a:defRPr sz="1900"/>
            </a:lvl4pPr>
            <a:lvl5pPr marL="1515939" indent="-273821">
              <a:lnSpc>
                <a:spcPct val="90000"/>
              </a:lnSpc>
              <a:defRPr sz="19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523763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6073" y="228602"/>
            <a:ext cx="11161443" cy="609399"/>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6073" y="1406941"/>
            <a:ext cx="5487829" cy="350865"/>
          </a:xfrm>
        </p:spPr>
        <p:txBody>
          <a:bodyPr anchor="b"/>
          <a:lstStyle>
            <a:lvl1pPr marL="0" indent="0">
              <a:lnSpc>
                <a:spcPct val="90000"/>
              </a:lnSpc>
              <a:spcBef>
                <a:spcPts val="0"/>
              </a:spcBef>
              <a:buNone/>
              <a:defRPr sz="2500" b="1"/>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16074" y="2133602"/>
            <a:ext cx="5486400" cy="1555297"/>
          </a:xfrm>
        </p:spPr>
        <p:txBody>
          <a:bodyPr/>
          <a:lstStyle>
            <a:lvl1pPr marL="281759" indent="-281759">
              <a:defRPr sz="2300"/>
            </a:lvl1pPr>
            <a:lvl2pPr marL="562195" indent="-265885">
              <a:defRPr sz="2000"/>
            </a:lvl2pPr>
            <a:lvl3pPr marL="813528" indent="-243397">
              <a:defRPr sz="1900"/>
            </a:lvl3pPr>
            <a:lvl4pPr marL="1050311" indent="-228847">
              <a:defRPr sz="1700"/>
            </a:lvl4pPr>
            <a:lvl5pPr marL="1279156" indent="-20635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9687" y="1406941"/>
            <a:ext cx="5487829" cy="350865"/>
          </a:xfrm>
        </p:spPr>
        <p:txBody>
          <a:bodyPr anchor="b"/>
          <a:lstStyle>
            <a:lvl1pPr marL="0" indent="0">
              <a:lnSpc>
                <a:spcPct val="90000"/>
              </a:lnSpc>
              <a:spcBef>
                <a:spcPts val="0"/>
              </a:spcBef>
              <a:buNone/>
              <a:defRPr sz="2500" b="1"/>
            </a:lvl1pPr>
            <a:lvl2pPr marL="457163" indent="0">
              <a:buNone/>
              <a:defRPr sz="2000" b="1"/>
            </a:lvl2pPr>
            <a:lvl3pPr marL="914325" indent="0">
              <a:buNone/>
              <a:defRPr sz="1900" b="1"/>
            </a:lvl3pPr>
            <a:lvl4pPr marL="1371488" indent="0">
              <a:buNone/>
              <a:defRPr sz="1600" b="1"/>
            </a:lvl4pPr>
            <a:lvl5pPr marL="1828651" indent="0">
              <a:buNone/>
              <a:defRPr sz="1600" b="1"/>
            </a:lvl5pPr>
            <a:lvl6pPr marL="2285813" indent="0">
              <a:buNone/>
              <a:defRPr sz="1600" b="1"/>
            </a:lvl6pPr>
            <a:lvl7pPr marL="2742976" indent="0">
              <a:buNone/>
              <a:defRPr sz="1600" b="1"/>
            </a:lvl7pPr>
            <a:lvl8pPr marL="3200139" indent="0">
              <a:buNone/>
              <a:defRPr sz="1600" b="1"/>
            </a:lvl8pPr>
            <a:lvl9pPr marL="365730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9687" y="2133604"/>
            <a:ext cx="5487829" cy="1578619"/>
          </a:xfrm>
        </p:spPr>
        <p:txBody>
          <a:bodyPr/>
          <a:lstStyle>
            <a:lvl1pPr marL="296308" indent="-296308">
              <a:defRPr sz="2300"/>
            </a:lvl1pPr>
            <a:lvl2pPr marL="570131" indent="-273821">
              <a:defRPr sz="2000"/>
            </a:lvl2pPr>
            <a:lvl3pPr marL="821464" indent="-244720">
              <a:defRPr sz="1900"/>
            </a:lvl3pPr>
            <a:lvl4pPr marL="1050311" indent="-236783">
              <a:defRPr sz="1700"/>
            </a:lvl4pPr>
            <a:lvl5pPr marL="1279156" indent="-22090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352780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5" y="228602"/>
            <a:ext cx="11161444" cy="609399"/>
          </a:xfrm>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16770235"/>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2" y="228602"/>
            <a:ext cx="10646671" cy="609399"/>
          </a:xfrm>
        </p:spPr>
        <p:txBody>
          <a:bodyPr/>
          <a:lstStyle>
            <a:lvl1pPr>
              <a:defRPr/>
            </a:lvl1pPr>
          </a:lstStyle>
          <a:p>
            <a:r>
              <a:rPr lang="en-US" dirty="0" smtClean="0"/>
              <a:t>Click to edit Master title style</a:t>
            </a:r>
            <a:endParaRPr lang="en-US" dirty="0"/>
          </a:p>
        </p:txBody>
      </p:sp>
      <p:sp>
        <p:nvSpPr>
          <p:cNvPr id="5" name="Freeform 15"/>
          <p:cNvSpPr>
            <a:spLocks noEditPoints="1"/>
          </p:cNvSpPr>
          <p:nvPr userDrawn="1"/>
        </p:nvSpPr>
        <p:spPr bwMode="black">
          <a:xfrm>
            <a:off x="582948" y="228601"/>
            <a:ext cx="559700" cy="56019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1"/>
            <a:endParaRPr lang="en-US" sz="1600" dirty="0">
              <a:solidFill>
                <a:srgbClr val="292929"/>
              </a:solidFill>
            </a:endParaRPr>
          </a:p>
        </p:txBody>
      </p:sp>
    </p:spTree>
    <p:extLst>
      <p:ext uri="{BB962C8B-B14F-4D97-AF65-F5344CB8AC3E}">
        <p14:creationId xmlns:p14="http://schemas.microsoft.com/office/powerpoint/2010/main" val="4770359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2" y="228602"/>
            <a:ext cx="10646671" cy="609399"/>
          </a:xfrm>
        </p:spPr>
        <p:txBody>
          <a:bodyPr/>
          <a:lstStyle>
            <a:lvl1pPr>
              <a:defRPr/>
            </a:lvl1pPr>
          </a:lstStyle>
          <a:p>
            <a:r>
              <a:rPr lang="en-US" dirty="0" smtClean="0"/>
              <a:t>Click to edit Master title style</a:t>
            </a:r>
            <a:endParaRPr lang="en-US" dirty="0"/>
          </a:p>
        </p:txBody>
      </p:sp>
      <p:sp>
        <p:nvSpPr>
          <p:cNvPr id="5" name="Freeform 15"/>
          <p:cNvSpPr>
            <a:spLocks noEditPoints="1"/>
          </p:cNvSpPr>
          <p:nvPr userDrawn="1"/>
        </p:nvSpPr>
        <p:spPr bwMode="black">
          <a:xfrm>
            <a:off x="582948" y="228601"/>
            <a:ext cx="559700" cy="560198"/>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914361"/>
            <a:endParaRPr lang="en-US" sz="1600" dirty="0">
              <a:solidFill>
                <a:srgbClr val="292929"/>
              </a:solidFill>
            </a:endParaRPr>
          </a:p>
        </p:txBody>
      </p:sp>
      <p:sp>
        <p:nvSpPr>
          <p:cNvPr id="4" name="Text Placeholder 4"/>
          <p:cNvSpPr>
            <a:spLocks noGrp="1"/>
          </p:cNvSpPr>
          <p:nvPr>
            <p:ph type="body" sz="quarter" idx="10"/>
          </p:nvPr>
        </p:nvSpPr>
        <p:spPr>
          <a:xfrm>
            <a:off x="516075" y="1447801"/>
            <a:ext cx="11161444" cy="2000548"/>
          </a:xfrm>
        </p:spPr>
        <p:txBody>
          <a:bodyPr/>
          <a:lstStyle>
            <a:lvl1pPr marL="0" indent="0">
              <a:buClr>
                <a:schemeClr val="accent2"/>
              </a:buClr>
              <a:buNone/>
              <a:defRPr>
                <a:solidFill>
                  <a:schemeClr val="accent2"/>
                </a:solidFill>
              </a:defRPr>
            </a:lvl1pPr>
            <a:lvl2pPr marL="393700" indent="-393700" defTabSz="915988">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4383178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786607"/>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6" name="Picture 7" descr="\\MAGNUM\Projects\Microsoft\Cloud Power FY12\Design\ICONS_PNG\Rich_user_experience.png"/>
          <p:cNvPicPr>
            <a:picLocks noChangeAspect="1" noChangeArrowheads="1"/>
          </p:cNvPicPr>
          <p:nvPr userDrawn="1"/>
        </p:nvPicPr>
        <p:blipFill>
          <a:blip r:embed="rId2" cstate="print">
            <a:duotone>
              <a:prstClr val="black"/>
              <a:schemeClr val="accent4">
                <a:tint val="45000"/>
                <a:satMod val="400000"/>
              </a:schemeClr>
            </a:duotone>
          </a:blip>
          <a:srcRect/>
          <a:stretch>
            <a:fillRect/>
          </a:stretch>
        </p:blipFill>
        <p:spPr bwMode="auto">
          <a:xfrm>
            <a:off x="441949" y="65685"/>
            <a:ext cx="914638" cy="914400"/>
          </a:xfrm>
          <a:prstGeom prst="rect">
            <a:avLst/>
          </a:prstGeom>
          <a:noFill/>
        </p:spPr>
      </p:pic>
      <p:sp>
        <p:nvSpPr>
          <p:cNvPr id="2" name="Title 1"/>
          <p:cNvSpPr>
            <a:spLocks noGrp="1"/>
          </p:cNvSpPr>
          <p:nvPr>
            <p:ph type="title"/>
          </p:nvPr>
        </p:nvSpPr>
        <p:spPr>
          <a:xfrm>
            <a:off x="1354491" y="228602"/>
            <a:ext cx="10508089" cy="609399"/>
          </a:xfrm>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26362998"/>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6" name="Picture 7" descr="\\MAGNUM\Projects\Microsoft\Cloud Power FY12\Design\ICONS_PNG\Rich_user_experience.png"/>
          <p:cNvPicPr>
            <a:picLocks noChangeAspect="1" noChangeArrowheads="1"/>
          </p:cNvPicPr>
          <p:nvPr userDrawn="1"/>
        </p:nvPicPr>
        <p:blipFill>
          <a:blip r:embed="rId2" cstate="print">
            <a:duotone>
              <a:prstClr val="black"/>
              <a:schemeClr val="accent4">
                <a:tint val="45000"/>
                <a:satMod val="400000"/>
              </a:schemeClr>
            </a:duotone>
          </a:blip>
          <a:srcRect/>
          <a:stretch>
            <a:fillRect/>
          </a:stretch>
        </p:blipFill>
        <p:spPr bwMode="auto">
          <a:xfrm>
            <a:off x="441949" y="65685"/>
            <a:ext cx="914638" cy="914400"/>
          </a:xfrm>
          <a:prstGeom prst="rect">
            <a:avLst/>
          </a:prstGeom>
          <a:noFill/>
        </p:spPr>
      </p:pic>
      <p:sp>
        <p:nvSpPr>
          <p:cNvPr id="2" name="Title 1"/>
          <p:cNvSpPr>
            <a:spLocks noGrp="1"/>
          </p:cNvSpPr>
          <p:nvPr>
            <p:ph type="title"/>
          </p:nvPr>
        </p:nvSpPr>
        <p:spPr>
          <a:xfrm>
            <a:off x="1354491" y="228602"/>
            <a:ext cx="10508089" cy="609399"/>
          </a:xfrm>
        </p:spPr>
        <p:txBody>
          <a:bodyPr/>
          <a:lstStyle>
            <a:lvl1pPr>
              <a:defRPr/>
            </a:lvl1pPr>
          </a:lstStyle>
          <a:p>
            <a:r>
              <a:rPr lang="en-US" dirty="0" smtClean="0"/>
              <a:t>Click to edit Master title style</a:t>
            </a:r>
            <a:endParaRPr lang="en-US" dirty="0"/>
          </a:p>
        </p:txBody>
      </p:sp>
      <p:sp>
        <p:nvSpPr>
          <p:cNvPr id="4" name="Text Placeholder 4"/>
          <p:cNvSpPr>
            <a:spLocks noGrp="1"/>
          </p:cNvSpPr>
          <p:nvPr>
            <p:ph type="body" sz="quarter" idx="10"/>
          </p:nvPr>
        </p:nvSpPr>
        <p:spPr>
          <a:xfrm>
            <a:off x="516075" y="1447801"/>
            <a:ext cx="11161444" cy="2000548"/>
          </a:xfrm>
        </p:spPr>
        <p:txBody>
          <a:bodyPr/>
          <a:lstStyle>
            <a:lvl1pPr marL="0" indent="0">
              <a:buClr>
                <a:schemeClr val="accent4">
                  <a:lumMod val="50000"/>
                </a:schemeClr>
              </a:buClr>
              <a:buNone/>
              <a:defRPr>
                <a:solidFill>
                  <a:schemeClr val="accent4">
                    <a:lumMod val="50000"/>
                  </a:schemeClr>
                </a:solidFill>
              </a:defRPr>
            </a:lvl1pPr>
            <a:lvl2pPr marL="403225" indent="-393700">
              <a:buClr>
                <a:schemeClr val="accent4">
                  <a:lumMod val="50000"/>
                </a:schemeClr>
              </a:buClr>
              <a:defRPr/>
            </a:lvl2pPr>
            <a:lvl3pPr>
              <a:buClr>
                <a:schemeClr val="accent4">
                  <a:lumMod val="50000"/>
                </a:schemeClr>
              </a:buClr>
              <a:defRPr/>
            </a:lvl3pPr>
            <a:lvl4pPr>
              <a:buClr>
                <a:schemeClr val="accent4">
                  <a:lumMod val="50000"/>
                </a:schemeClr>
              </a:buClr>
              <a:defRPr/>
            </a:lvl4pPr>
            <a:lvl5pPr>
              <a:buClr>
                <a:schemeClr val="accent4">
                  <a:lumMod val="50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17247580"/>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1" y="228602"/>
            <a:ext cx="10660529" cy="609399"/>
          </a:xfrm>
        </p:spPr>
        <p:txBody>
          <a:bodyPr/>
          <a:lstStyle>
            <a:lvl1pPr>
              <a:defRPr/>
            </a:lvl1pPr>
          </a:lstStyle>
          <a:p>
            <a:r>
              <a:rPr lang="en-US" dirty="0" smtClean="0"/>
              <a:t>Click to edit Master title style</a:t>
            </a:r>
            <a:endParaRPr lang="en-US" dirty="0"/>
          </a:p>
        </p:txBody>
      </p:sp>
      <p:grpSp>
        <p:nvGrpSpPr>
          <p:cNvPr id="7" name="Group 6"/>
          <p:cNvGrpSpPr/>
          <p:nvPr userDrawn="1"/>
        </p:nvGrpSpPr>
        <p:grpSpPr bwMode="black">
          <a:xfrm>
            <a:off x="541479" y="228600"/>
            <a:ext cx="611447" cy="495999"/>
            <a:chOff x="813584" y="4312262"/>
            <a:chExt cx="478309" cy="370027"/>
          </a:xfrm>
          <a:solidFill>
            <a:srgbClr val="FF8200"/>
          </a:solidFill>
        </p:grpSpPr>
        <p:sp>
          <p:nvSpPr>
            <p:cNvPr id="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sp>
          <p:nvSpPr>
            <p:cNvPr id="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grpSp>
    </p:spTree>
    <p:extLst>
      <p:ext uri="{BB962C8B-B14F-4D97-AF65-F5344CB8AC3E}">
        <p14:creationId xmlns:p14="http://schemas.microsoft.com/office/powerpoint/2010/main" val="320719992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54491" y="228602"/>
            <a:ext cx="10660529" cy="609399"/>
          </a:xfrm>
        </p:spPr>
        <p:txBody>
          <a:bodyPr/>
          <a:lstStyle>
            <a:lvl1pPr>
              <a:defRPr/>
            </a:lvl1pPr>
          </a:lstStyle>
          <a:p>
            <a:r>
              <a:rPr lang="en-US" dirty="0" smtClean="0"/>
              <a:t>Click to edit Master title style</a:t>
            </a:r>
            <a:endParaRPr lang="en-US" dirty="0"/>
          </a:p>
        </p:txBody>
      </p:sp>
      <p:grpSp>
        <p:nvGrpSpPr>
          <p:cNvPr id="7" name="Group 6"/>
          <p:cNvGrpSpPr/>
          <p:nvPr userDrawn="1"/>
        </p:nvGrpSpPr>
        <p:grpSpPr bwMode="black">
          <a:xfrm>
            <a:off x="541479" y="228600"/>
            <a:ext cx="611447" cy="495999"/>
            <a:chOff x="813584" y="4312262"/>
            <a:chExt cx="478309" cy="370027"/>
          </a:xfrm>
          <a:solidFill>
            <a:srgbClr val="FF8200"/>
          </a:solidFill>
        </p:grpSpPr>
        <p:sp>
          <p:nvSpPr>
            <p:cNvPr id="8"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sp>
          <p:nvSpPr>
            <p:cNvPr id="9"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pPr defTabSz="914361"/>
              <a:endParaRPr lang="en-US" sz="1600">
                <a:solidFill>
                  <a:srgbClr val="292929"/>
                </a:solidFill>
              </a:endParaRPr>
            </a:p>
          </p:txBody>
        </p:sp>
      </p:grpSp>
      <p:sp>
        <p:nvSpPr>
          <p:cNvPr id="6" name="Text Placeholder 4"/>
          <p:cNvSpPr>
            <a:spLocks noGrp="1"/>
          </p:cNvSpPr>
          <p:nvPr>
            <p:ph type="body" sz="quarter" idx="10"/>
          </p:nvPr>
        </p:nvSpPr>
        <p:spPr>
          <a:xfrm>
            <a:off x="516075" y="1447801"/>
            <a:ext cx="11161444" cy="2000548"/>
          </a:xfrm>
        </p:spPr>
        <p:txBody>
          <a:bodyPr/>
          <a:lstStyle>
            <a:lvl1pPr marL="0" indent="0">
              <a:buClr>
                <a:srgbClr val="FF8200"/>
              </a:buClr>
              <a:buNone/>
              <a:defRPr>
                <a:solidFill>
                  <a:srgbClr val="FF8200"/>
                </a:solidFill>
              </a:defRPr>
            </a:lvl1pPr>
            <a:lvl2pPr marL="393700" indent="-393700" defTabSz="744538">
              <a:buClr>
                <a:srgbClr val="FF8200"/>
              </a:buClr>
              <a:defRPr/>
            </a:lvl2pPr>
            <a:lvl3pPr>
              <a:buClr>
                <a:srgbClr val="FF8200"/>
              </a:buClr>
              <a:defRPr/>
            </a:lvl3pPr>
            <a:lvl4pPr>
              <a:buClr>
                <a:srgbClr val="FF8200"/>
              </a:buClr>
              <a:defRPr/>
            </a:lvl4pPr>
            <a:lvl5pPr>
              <a:buClr>
                <a:srgbClr val="FF8200"/>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121147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787423"/>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1" y="228602"/>
            <a:ext cx="11151916" cy="701731"/>
          </a:xfrm>
        </p:spPr>
        <p:txBody>
          <a:bodyPr tIns="91428"/>
          <a:lstStyle>
            <a:lvl1pPr>
              <a:defRPr spc="0"/>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251" y="1447799"/>
            <a:ext cx="11151916" cy="2000548"/>
          </a:xfrm>
        </p:spPr>
        <p:txBody>
          <a:bodyPr/>
          <a:lstStyle>
            <a:lvl1pPr marL="460315" indent="-460315">
              <a:buFont typeface="Arial" pitchFamily="34" charset="0"/>
              <a:buChar char="•"/>
              <a:defRPr/>
            </a:lvl1pPr>
            <a:lvl2pPr marL="855557" indent="-395240">
              <a:buFont typeface="Arial" pitchFamily="34" charset="0"/>
              <a:buChar char="•"/>
              <a:defRPr/>
            </a:lvl2pPr>
            <a:lvl3pPr marL="1258732" indent="-403175">
              <a:buFont typeface="Arial" pitchFamily="34" charset="0"/>
              <a:buChar char="•"/>
              <a:defRPr/>
            </a:lvl3pPr>
            <a:lvl4pPr marL="1604760" indent="-346031">
              <a:buFont typeface="Arial" pitchFamily="34" charset="0"/>
              <a:buChar char="•"/>
              <a:defRPr/>
            </a:lvl4pPr>
            <a:lvl5pPr marL="1941270" indent="-336508">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userDrawn="1"/>
        </p:nvCxnSpPr>
        <p:spPr>
          <a:xfrm>
            <a:off x="531957" y="990600"/>
            <a:ext cx="11128097" cy="0"/>
          </a:xfrm>
          <a:prstGeom prst="line">
            <a:avLst/>
          </a:prstGeom>
          <a:ln>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260188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4" y="223513"/>
            <a:ext cx="5046120" cy="908431"/>
          </a:xfrm>
          <a:prstGeom prst="rect">
            <a:avLst/>
          </a:prstGeom>
        </p:spPr>
      </p:pic>
    </p:spTree>
    <p:extLst>
      <p:ext uri="{BB962C8B-B14F-4D97-AF65-F5344CB8AC3E}">
        <p14:creationId xmlns:p14="http://schemas.microsoft.com/office/powerpoint/2010/main" val="385463388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3_Title Slide Solid">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4"/>
            <a:ext cx="12191377" cy="6858623"/>
          </a:xfrm>
          <a:prstGeom prst="rect">
            <a:avLst/>
          </a:prstGeom>
        </p:spPr>
      </p:pic>
      <p:sp>
        <p:nvSpPr>
          <p:cNvPr id="10" name="Freeform 9"/>
          <p:cNvSpPr/>
          <p:nvPr userDrawn="1"/>
        </p:nvSpPr>
        <p:spPr bwMode="auto">
          <a:xfrm rot="19623283">
            <a:off x="-2729068" y="-1972230"/>
            <a:ext cx="13344813" cy="6091217"/>
          </a:xfrm>
          <a:custGeom>
            <a:avLst/>
            <a:gdLst>
              <a:gd name="connsiteX0" fmla="*/ 4026000 w 13612405"/>
              <a:gd name="connsiteY0" fmla="*/ 0 h 6212477"/>
              <a:gd name="connsiteX1" fmla="*/ 13612405 w 13612405"/>
              <a:gd name="connsiteY1" fmla="*/ 6212477 h 6212477"/>
              <a:gd name="connsiteX2" fmla="*/ 0 w 13612405"/>
              <a:gd name="connsiteY2" fmla="*/ 6212477 h 6212477"/>
            </a:gdLst>
            <a:ahLst/>
            <a:cxnLst>
              <a:cxn ang="0">
                <a:pos x="connsiteX0" y="connsiteY0"/>
              </a:cxn>
              <a:cxn ang="0">
                <a:pos x="connsiteX1" y="connsiteY1"/>
              </a:cxn>
              <a:cxn ang="0">
                <a:pos x="connsiteX2" y="connsiteY2"/>
              </a:cxn>
            </a:cxnLst>
            <a:rect l="l" t="t" r="r" b="b"/>
            <a:pathLst>
              <a:path w="13612405" h="6212477">
                <a:moveTo>
                  <a:pt x="4026000" y="0"/>
                </a:moveTo>
                <a:lnTo>
                  <a:pt x="13612405" y="6212477"/>
                </a:lnTo>
                <a:lnTo>
                  <a:pt x="0" y="6212477"/>
                </a:lnTo>
                <a:close/>
              </a:path>
            </a:pathLst>
          </a:custGeom>
          <a:gradFill>
            <a:gsLst>
              <a:gs pos="62000">
                <a:schemeClr val="bg1">
                  <a:alpha val="44000"/>
                </a:schemeClr>
              </a:gs>
              <a:gs pos="100000">
                <a:schemeClr val="bg1">
                  <a:alpha val="0"/>
                </a:scheme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3" rIns="179191" bIns="143353" numCol="1" spcCol="0" rtlCol="0" fromWordArt="0" anchor="t" anchorCtr="0" forceAA="0" compatLnSpc="1">
            <a:prstTxWarp prst="textNoShape">
              <a:avLst/>
            </a:prstTxWarp>
            <a:noAutofit/>
          </a:bodyPr>
          <a:lstStyle/>
          <a:p>
            <a:pPr algn="ctr" defTabSz="913693" fontAlgn="base">
              <a:lnSpc>
                <a:spcPct val="90000"/>
              </a:lnSpc>
              <a:spcBef>
                <a:spcPct val="0"/>
              </a:spcBef>
              <a:spcAft>
                <a:spcPct val="0"/>
              </a:spcAft>
            </a:pPr>
            <a:endParaRPr lang="en-US" sz="2352" dirty="0" err="1">
              <a:gradFill>
                <a:gsLst>
                  <a:gs pos="62000">
                    <a:srgbClr val="0072C6">
                      <a:lumMod val="50000"/>
                    </a:srgbClr>
                  </a:gs>
                  <a:gs pos="100000">
                    <a:srgbClr val="0072C6">
                      <a:lumMod val="50000"/>
                    </a:srgbClr>
                  </a:gs>
                </a:gsLst>
                <a:lin ang="5400000" scaled="0"/>
              </a:gradFill>
              <a:ea typeface="Segoe UI" pitchFamily="34" charset="0"/>
              <a:cs typeface="Segoe UI" pitchFamily="34" charset="0"/>
            </a:endParaRPr>
          </a:p>
        </p:txBody>
      </p:sp>
      <p:sp>
        <p:nvSpPr>
          <p:cNvPr id="5" name="Rectangle 4"/>
          <p:cNvSpPr/>
          <p:nvPr userDrawn="1"/>
        </p:nvSpPr>
        <p:spPr bwMode="auto">
          <a:xfrm>
            <a:off x="268462" y="289515"/>
            <a:ext cx="6276530" cy="6277421"/>
          </a:xfrm>
          <a:prstGeom prst="rect">
            <a:avLst/>
          </a:prstGeom>
          <a:solidFill>
            <a:srgbClr val="0072C6">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91" tIns="143353" rIns="179191" bIns="143353" numCol="1" spcCol="0" rtlCol="0" fromWordArt="0" anchor="t" anchorCtr="0" forceAA="0" compatLnSpc="1">
            <a:prstTxWarp prst="textNoShape">
              <a:avLst/>
            </a:prstTxWarp>
            <a:noAutofit/>
          </a:bodyPr>
          <a:lstStyle/>
          <a:p>
            <a:pPr algn="ctr" defTabSz="913693"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514512" y="524489"/>
            <a:ext cx="1230696" cy="269713"/>
          </a:xfrm>
          <a:prstGeom prst="rect">
            <a:avLst/>
          </a:prstGeom>
        </p:spPr>
      </p:pic>
      <p:sp>
        <p:nvSpPr>
          <p:cNvPr id="4" name="TextBox 3"/>
          <p:cNvSpPr txBox="1"/>
          <p:nvPr userDrawn="1"/>
        </p:nvSpPr>
        <p:spPr>
          <a:xfrm>
            <a:off x="-1460715" y="-1626830"/>
            <a:ext cx="896425" cy="896552"/>
          </a:xfrm>
          <a:prstGeom prst="rect">
            <a:avLst/>
          </a:prstGeom>
          <a:noFill/>
        </p:spPr>
        <p:txBody>
          <a:bodyPr wrap="none" lIns="179191" tIns="143353" rIns="179191" bIns="143353" rtlCol="0">
            <a:noAutofit/>
          </a:bodyPr>
          <a:lstStyle/>
          <a:p>
            <a:pPr defTabSz="1096589">
              <a:lnSpc>
                <a:spcPct val="90000"/>
              </a:lnSpc>
              <a:spcAft>
                <a:spcPts val="588"/>
              </a:spcAft>
            </a:pPr>
            <a:endParaRPr lang="en-US" sz="2352" dirty="0">
              <a:gradFill>
                <a:gsLst>
                  <a:gs pos="2917">
                    <a:prstClr val="black"/>
                  </a:gs>
                  <a:gs pos="30000">
                    <a:prstClr val="black"/>
                  </a:gs>
                </a:gsLst>
                <a:lin ang="5400000" scaled="0"/>
              </a:gradFill>
            </a:endParaRPr>
          </a:p>
        </p:txBody>
      </p:sp>
      <p:sp>
        <p:nvSpPr>
          <p:cNvPr id="17" name="Title 1"/>
          <p:cNvSpPr>
            <a:spLocks noGrp="1"/>
          </p:cNvSpPr>
          <p:nvPr>
            <p:ph type="ctrTitle" hasCustomPrompt="1"/>
          </p:nvPr>
        </p:nvSpPr>
        <p:spPr>
          <a:xfrm>
            <a:off x="375953" y="1413020"/>
            <a:ext cx="5042713" cy="705514"/>
          </a:xfrm>
        </p:spPr>
        <p:txBody>
          <a:bodyPr/>
          <a:lstStyle>
            <a:lvl1pPr>
              <a:defRPr sz="5094" baseline="0">
                <a:solidFill>
                  <a:schemeClr val="bg1"/>
                </a:solidFill>
              </a:defRPr>
            </a:lvl1pPr>
          </a:lstStyle>
          <a:p>
            <a:r>
              <a:rPr lang="en-US" dirty="0" err="1" smtClean="0"/>
              <a:t>Lorem</a:t>
            </a:r>
            <a:r>
              <a:rPr lang="en-US" dirty="0" smtClean="0"/>
              <a:t> </a:t>
            </a:r>
            <a:r>
              <a:rPr lang="en-US" dirty="0" err="1" smtClean="0"/>
              <a:t>ipsum</a:t>
            </a:r>
            <a:r>
              <a:rPr lang="en-US" dirty="0" smtClean="0"/>
              <a:t> dolor</a:t>
            </a:r>
            <a:endParaRPr lang="en-US" dirty="0"/>
          </a:p>
        </p:txBody>
      </p:sp>
      <p:sp>
        <p:nvSpPr>
          <p:cNvPr id="19" name="Subtitle 2"/>
          <p:cNvSpPr>
            <a:spLocks noGrp="1"/>
          </p:cNvSpPr>
          <p:nvPr>
            <p:ph type="subTitle" idx="1" hasCustomPrompt="1"/>
          </p:nvPr>
        </p:nvSpPr>
        <p:spPr>
          <a:xfrm>
            <a:off x="376017" y="4212569"/>
            <a:ext cx="7680957" cy="641201"/>
          </a:xfrm>
        </p:spPr>
        <p:txBody>
          <a:bodyPr anchor="ctr"/>
          <a:lstStyle>
            <a:lvl1pPr marL="0" indent="0" algn="l">
              <a:lnSpc>
                <a:spcPts val="2547"/>
              </a:lnSpc>
              <a:buNone/>
              <a:defRPr sz="1568">
                <a:solidFill>
                  <a:schemeClr val="bg1"/>
                </a:solidFill>
                <a:latin typeface="+mj-lt"/>
              </a:defRPr>
            </a:lvl1pPr>
            <a:lvl2pPr marL="447992" indent="0" algn="ctr">
              <a:buNone/>
              <a:defRPr>
                <a:solidFill>
                  <a:schemeClr val="tx1">
                    <a:tint val="75000"/>
                  </a:schemeClr>
                </a:solidFill>
              </a:defRPr>
            </a:lvl2pPr>
            <a:lvl3pPr marL="895985" indent="0" algn="ctr">
              <a:buNone/>
              <a:defRPr>
                <a:solidFill>
                  <a:schemeClr val="tx1">
                    <a:tint val="75000"/>
                  </a:schemeClr>
                </a:solidFill>
              </a:defRPr>
            </a:lvl3pPr>
            <a:lvl4pPr marL="1343977" indent="0" algn="ctr">
              <a:buNone/>
              <a:defRPr>
                <a:solidFill>
                  <a:schemeClr val="tx1">
                    <a:tint val="75000"/>
                  </a:schemeClr>
                </a:solidFill>
              </a:defRPr>
            </a:lvl4pPr>
            <a:lvl5pPr marL="1791970" indent="0" algn="ctr">
              <a:buNone/>
              <a:defRPr>
                <a:solidFill>
                  <a:schemeClr val="tx1">
                    <a:tint val="75000"/>
                  </a:schemeClr>
                </a:solidFill>
              </a:defRPr>
            </a:lvl5pPr>
            <a:lvl6pPr marL="2239962" indent="0" algn="ctr">
              <a:buNone/>
              <a:defRPr>
                <a:solidFill>
                  <a:schemeClr val="tx1">
                    <a:tint val="75000"/>
                  </a:schemeClr>
                </a:solidFill>
              </a:defRPr>
            </a:lvl6pPr>
            <a:lvl7pPr marL="2687953" indent="0" algn="ctr">
              <a:buNone/>
              <a:defRPr>
                <a:solidFill>
                  <a:schemeClr val="tx1">
                    <a:tint val="75000"/>
                  </a:schemeClr>
                </a:solidFill>
              </a:defRPr>
            </a:lvl7pPr>
            <a:lvl8pPr marL="3135947" indent="0" algn="ctr">
              <a:buNone/>
              <a:defRPr>
                <a:solidFill>
                  <a:schemeClr val="tx1">
                    <a:tint val="75000"/>
                  </a:schemeClr>
                </a:solidFill>
              </a:defRPr>
            </a:lvl8pPr>
            <a:lvl9pPr marL="3583938"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3293124983"/>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4" y="2100821"/>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4" y="3877277"/>
            <a:ext cx="8534711"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smtClean="0"/>
              <a:t>Speaker Name</a:t>
            </a:r>
            <a:br>
              <a:rPr lang="en-US" smtClean="0"/>
            </a:br>
            <a:r>
              <a:rPr lang="en-US" smtClean="0"/>
              <a:t>Date</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32" y="320742"/>
            <a:ext cx="1575269" cy="579535"/>
          </a:xfrm>
          <a:prstGeom prst="rect">
            <a:avLst/>
          </a:prstGeom>
        </p:spPr>
      </p:pic>
    </p:spTree>
    <p:extLst>
      <p:ext uri="{BB962C8B-B14F-4D97-AF65-F5344CB8AC3E}">
        <p14:creationId xmlns:p14="http://schemas.microsoft.com/office/powerpoint/2010/main" val="3406162456"/>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1_Title Slide Solid">
    <p:bg>
      <p:bgPr>
        <a:solidFill>
          <a:schemeClr val="accent1"/>
        </a:solidFill>
        <a:effectLst/>
      </p:bgPr>
    </p:bg>
    <p:spTree>
      <p:nvGrpSpPr>
        <p:cNvPr id="1" name=""/>
        <p:cNvGrpSpPr/>
        <p:nvPr/>
      </p:nvGrpSpPr>
      <p:grpSpPr>
        <a:xfrm>
          <a:off x="0" y="0"/>
          <a:ext cx="0" cy="0"/>
          <a:chOff x="0" y="0"/>
          <a:chExt cx="0" cy="0"/>
        </a:xfrm>
      </p:grpSpPr>
      <p:grpSp>
        <p:nvGrpSpPr>
          <p:cNvPr id="127" name="Group 126"/>
          <p:cNvGrpSpPr/>
          <p:nvPr userDrawn="1"/>
        </p:nvGrpSpPr>
        <p:grpSpPr>
          <a:xfrm>
            <a:off x="-5184" y="566570"/>
            <a:ext cx="12198638" cy="6301095"/>
            <a:chOff x="-5288" y="577849"/>
            <a:chExt cx="12443246" cy="6426533"/>
          </a:xfrm>
        </p:grpSpPr>
        <p:grpSp>
          <p:nvGrpSpPr>
            <p:cNvPr id="128" name="Group 127"/>
            <p:cNvGrpSpPr/>
            <p:nvPr userDrawn="1"/>
          </p:nvGrpSpPr>
          <p:grpSpPr>
            <a:xfrm>
              <a:off x="2610804" y="5270500"/>
              <a:ext cx="9827154" cy="1724754"/>
              <a:chOff x="4402138" y="4330700"/>
              <a:chExt cx="4757738" cy="835026"/>
            </a:xfrm>
          </p:grpSpPr>
          <p:sp>
            <p:nvSpPr>
              <p:cNvPr id="233" name="Freeform 8"/>
              <p:cNvSpPr>
                <a:spLocks/>
              </p:cNvSpPr>
              <p:nvPr/>
            </p:nvSpPr>
            <p:spPr bwMode="auto">
              <a:xfrm>
                <a:off x="4402138" y="4602163"/>
                <a:ext cx="2403475" cy="563563"/>
              </a:xfrm>
              <a:custGeom>
                <a:avLst/>
                <a:gdLst>
                  <a:gd name="T0" fmla="*/ 1368 w 2213"/>
                  <a:gd name="T1" fmla="*/ 82 h 519"/>
                  <a:gd name="T2" fmla="*/ 0 w 2213"/>
                  <a:gd name="T3" fmla="*/ 519 h 519"/>
                  <a:gd name="T4" fmla="*/ 784 w 2213"/>
                  <a:gd name="T5" fmla="*/ 519 h 519"/>
                  <a:gd name="T6" fmla="*/ 2213 w 2213"/>
                  <a:gd name="T7" fmla="*/ 519 h 519"/>
                  <a:gd name="T8" fmla="*/ 1368 w 2213"/>
                  <a:gd name="T9" fmla="*/ 82 h 519"/>
                </a:gdLst>
                <a:ahLst/>
                <a:cxnLst>
                  <a:cxn ang="0">
                    <a:pos x="T0" y="T1"/>
                  </a:cxn>
                  <a:cxn ang="0">
                    <a:pos x="T2" y="T3"/>
                  </a:cxn>
                  <a:cxn ang="0">
                    <a:pos x="T4" y="T5"/>
                  </a:cxn>
                  <a:cxn ang="0">
                    <a:pos x="T6" y="T7"/>
                  </a:cxn>
                  <a:cxn ang="0">
                    <a:pos x="T8" y="T9"/>
                  </a:cxn>
                </a:cxnLst>
                <a:rect l="0" t="0" r="r" b="b"/>
                <a:pathLst>
                  <a:path w="2213" h="519">
                    <a:moveTo>
                      <a:pt x="1368" y="82"/>
                    </a:moveTo>
                    <a:cubicBezTo>
                      <a:pt x="886" y="0"/>
                      <a:pt x="373" y="146"/>
                      <a:pt x="0" y="519"/>
                    </a:cubicBezTo>
                    <a:cubicBezTo>
                      <a:pt x="784" y="519"/>
                      <a:pt x="784" y="519"/>
                      <a:pt x="784" y="519"/>
                    </a:cubicBezTo>
                    <a:cubicBezTo>
                      <a:pt x="2213" y="519"/>
                      <a:pt x="2213" y="519"/>
                      <a:pt x="2213" y="519"/>
                    </a:cubicBezTo>
                    <a:cubicBezTo>
                      <a:pt x="1974" y="280"/>
                      <a:pt x="1678" y="134"/>
                      <a:pt x="1368" y="82"/>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468"/>
                <a:endParaRPr lang="en-US" sz="2400">
                  <a:solidFill>
                    <a:srgbClr val="000000"/>
                  </a:solidFill>
                </a:endParaRPr>
              </a:p>
            </p:txBody>
          </p:sp>
          <p:sp>
            <p:nvSpPr>
              <p:cNvPr id="234" name="Freeform 9"/>
              <p:cNvSpPr>
                <a:spLocks/>
              </p:cNvSpPr>
              <p:nvPr/>
            </p:nvSpPr>
            <p:spPr bwMode="auto">
              <a:xfrm>
                <a:off x="5503863" y="4330700"/>
                <a:ext cx="3656013" cy="835025"/>
              </a:xfrm>
              <a:custGeom>
                <a:avLst/>
                <a:gdLst>
                  <a:gd name="T0" fmla="*/ 2420 w 3366"/>
                  <a:gd name="T1" fmla="*/ 106 h 769"/>
                  <a:gd name="T2" fmla="*/ 1231 w 3366"/>
                  <a:gd name="T3" fmla="*/ 89 h 769"/>
                  <a:gd name="T4" fmla="*/ 0 w 3366"/>
                  <a:gd name="T5" fmla="*/ 769 h 769"/>
                  <a:gd name="T6" fmla="*/ 3366 w 3366"/>
                  <a:gd name="T7" fmla="*/ 769 h 769"/>
                  <a:gd name="T8" fmla="*/ 3366 w 3366"/>
                  <a:gd name="T9" fmla="*/ 577 h 769"/>
                  <a:gd name="T10" fmla="*/ 2420 w 3366"/>
                  <a:gd name="T11" fmla="*/ 106 h 769"/>
                </a:gdLst>
                <a:ahLst/>
                <a:cxnLst>
                  <a:cxn ang="0">
                    <a:pos x="T0" y="T1"/>
                  </a:cxn>
                  <a:cxn ang="0">
                    <a:pos x="T2" y="T3"/>
                  </a:cxn>
                  <a:cxn ang="0">
                    <a:pos x="T4" y="T5"/>
                  </a:cxn>
                  <a:cxn ang="0">
                    <a:pos x="T6" y="T7"/>
                  </a:cxn>
                  <a:cxn ang="0">
                    <a:pos x="T8" y="T9"/>
                  </a:cxn>
                  <a:cxn ang="0">
                    <a:pos x="T10" y="T11"/>
                  </a:cxn>
                </a:cxnLst>
                <a:rect l="0" t="0" r="r" b="b"/>
                <a:pathLst>
                  <a:path w="3366" h="769">
                    <a:moveTo>
                      <a:pt x="2420" y="106"/>
                    </a:moveTo>
                    <a:cubicBezTo>
                      <a:pt x="2031" y="6"/>
                      <a:pt x="1623" y="0"/>
                      <a:pt x="1231" y="89"/>
                    </a:cubicBezTo>
                    <a:cubicBezTo>
                      <a:pt x="780" y="191"/>
                      <a:pt x="351" y="417"/>
                      <a:pt x="0" y="769"/>
                    </a:cubicBezTo>
                    <a:cubicBezTo>
                      <a:pt x="3366" y="769"/>
                      <a:pt x="3366" y="769"/>
                      <a:pt x="3366" y="769"/>
                    </a:cubicBezTo>
                    <a:cubicBezTo>
                      <a:pt x="3366" y="577"/>
                      <a:pt x="3366" y="577"/>
                      <a:pt x="3366" y="577"/>
                    </a:cubicBezTo>
                    <a:cubicBezTo>
                      <a:pt x="3080" y="349"/>
                      <a:pt x="2757" y="192"/>
                      <a:pt x="2420" y="10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468"/>
                <a:endParaRPr lang="en-US" sz="2400">
                  <a:solidFill>
                    <a:srgbClr val="000000"/>
                  </a:solidFill>
                </a:endParaRPr>
              </a:p>
            </p:txBody>
          </p:sp>
          <p:sp>
            <p:nvSpPr>
              <p:cNvPr id="235" name="Freeform 17"/>
              <p:cNvSpPr>
                <a:spLocks/>
              </p:cNvSpPr>
              <p:nvPr/>
            </p:nvSpPr>
            <p:spPr bwMode="auto">
              <a:xfrm>
                <a:off x="6896100" y="4733925"/>
                <a:ext cx="2005013" cy="431800"/>
              </a:xfrm>
              <a:custGeom>
                <a:avLst/>
                <a:gdLst>
                  <a:gd name="T0" fmla="*/ 1443 w 1846"/>
                  <a:gd name="T1" fmla="*/ 123 h 398"/>
                  <a:gd name="T2" fmla="*/ 1141 w 1846"/>
                  <a:gd name="T3" fmla="*/ 33 h 398"/>
                  <a:gd name="T4" fmla="*/ 985 w 1846"/>
                  <a:gd name="T5" fmla="*/ 17 h 398"/>
                  <a:gd name="T6" fmla="*/ 0 w 1846"/>
                  <a:gd name="T7" fmla="*/ 398 h 398"/>
                  <a:gd name="T8" fmla="*/ 654 w 1846"/>
                  <a:gd name="T9" fmla="*/ 398 h 398"/>
                  <a:gd name="T10" fmla="*/ 1846 w 1846"/>
                  <a:gd name="T11" fmla="*/ 398 h 398"/>
                  <a:gd name="T12" fmla="*/ 1443 w 1846"/>
                  <a:gd name="T13" fmla="*/ 123 h 398"/>
                </a:gdLst>
                <a:ahLst/>
                <a:cxnLst>
                  <a:cxn ang="0">
                    <a:pos x="T0" y="T1"/>
                  </a:cxn>
                  <a:cxn ang="0">
                    <a:pos x="T2" y="T3"/>
                  </a:cxn>
                  <a:cxn ang="0">
                    <a:pos x="T4" y="T5"/>
                  </a:cxn>
                  <a:cxn ang="0">
                    <a:pos x="T6" y="T7"/>
                  </a:cxn>
                  <a:cxn ang="0">
                    <a:pos x="T8" y="T9"/>
                  </a:cxn>
                  <a:cxn ang="0">
                    <a:pos x="T10" y="T11"/>
                  </a:cxn>
                  <a:cxn ang="0">
                    <a:pos x="T12" y="T13"/>
                  </a:cxn>
                </a:cxnLst>
                <a:rect l="0" t="0" r="r" b="b"/>
                <a:pathLst>
                  <a:path w="1846" h="398">
                    <a:moveTo>
                      <a:pt x="1443" y="123"/>
                    </a:moveTo>
                    <a:cubicBezTo>
                      <a:pt x="1346" y="81"/>
                      <a:pt x="1244" y="51"/>
                      <a:pt x="1141" y="33"/>
                    </a:cubicBezTo>
                    <a:cubicBezTo>
                      <a:pt x="1089" y="25"/>
                      <a:pt x="1037" y="19"/>
                      <a:pt x="985" y="17"/>
                    </a:cubicBezTo>
                    <a:cubicBezTo>
                      <a:pt x="631" y="0"/>
                      <a:pt x="271" y="127"/>
                      <a:pt x="0" y="398"/>
                    </a:cubicBezTo>
                    <a:cubicBezTo>
                      <a:pt x="654" y="398"/>
                      <a:pt x="654" y="398"/>
                      <a:pt x="654" y="398"/>
                    </a:cubicBezTo>
                    <a:cubicBezTo>
                      <a:pt x="1846" y="398"/>
                      <a:pt x="1846" y="398"/>
                      <a:pt x="1846" y="398"/>
                    </a:cubicBezTo>
                    <a:cubicBezTo>
                      <a:pt x="1726" y="278"/>
                      <a:pt x="1589" y="187"/>
                      <a:pt x="1443" y="12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609468"/>
                <a:endParaRPr lang="en-US" sz="2400">
                  <a:solidFill>
                    <a:srgbClr val="000000"/>
                  </a:solidFill>
                </a:endParaRPr>
              </a:p>
            </p:txBody>
          </p:sp>
        </p:grpSp>
        <p:grpSp>
          <p:nvGrpSpPr>
            <p:cNvPr id="129" name="Group 128"/>
            <p:cNvGrpSpPr/>
            <p:nvPr userDrawn="1"/>
          </p:nvGrpSpPr>
          <p:grpSpPr>
            <a:xfrm>
              <a:off x="5067530" y="6253060"/>
              <a:ext cx="470039" cy="458142"/>
              <a:chOff x="5067530" y="6253060"/>
              <a:chExt cx="470039" cy="458142"/>
            </a:xfrm>
          </p:grpSpPr>
          <p:sp>
            <p:nvSpPr>
              <p:cNvPr id="219" name="Rectangle 7"/>
              <p:cNvSpPr>
                <a:spLocks noChangeArrowheads="1"/>
              </p:cNvSpPr>
              <p:nvPr userDrawn="1"/>
            </p:nvSpPr>
            <p:spPr bwMode="auto">
              <a:xfrm flipH="1">
                <a:off x="5208385" y="6427624"/>
                <a:ext cx="329184" cy="28357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220" name="Rectangle 8"/>
              <p:cNvSpPr>
                <a:spLocks noChangeArrowheads="1"/>
              </p:cNvSpPr>
              <p:nvPr userDrawn="1"/>
            </p:nvSpPr>
            <p:spPr bwMode="auto">
              <a:xfrm flipH="1">
                <a:off x="5067530" y="6297029"/>
                <a:ext cx="362817" cy="4141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221" name="Rectangle 220"/>
              <p:cNvSpPr/>
              <p:nvPr userDrawn="1"/>
            </p:nvSpPr>
            <p:spPr bwMode="auto">
              <a:xfrm>
                <a:off x="531648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Rectangle 221"/>
              <p:cNvSpPr/>
              <p:nvPr userDrawn="1"/>
            </p:nvSpPr>
            <p:spPr bwMode="auto">
              <a:xfrm>
                <a:off x="5428924"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userDrawn="1"/>
            </p:nvSpPr>
            <p:spPr bwMode="auto">
              <a:xfrm>
                <a:off x="510032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Rectangle 223"/>
              <p:cNvSpPr/>
              <p:nvPr userDrawn="1"/>
            </p:nvSpPr>
            <p:spPr bwMode="auto">
              <a:xfrm>
                <a:off x="5208402" y="6573207"/>
                <a:ext cx="76044" cy="9644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Rectangle 224"/>
              <p:cNvSpPr/>
              <p:nvPr userDrawn="1"/>
            </p:nvSpPr>
            <p:spPr bwMode="auto">
              <a:xfrm>
                <a:off x="531648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userDrawn="1"/>
            </p:nvSpPr>
            <p:spPr bwMode="auto">
              <a:xfrm>
                <a:off x="520840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userDrawn="1"/>
            </p:nvSpPr>
            <p:spPr bwMode="auto">
              <a:xfrm>
                <a:off x="5100322" y="6341456"/>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userDrawn="1"/>
            </p:nvSpPr>
            <p:spPr bwMode="auto">
              <a:xfrm>
                <a:off x="5428924"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9" name="Rectangle 228"/>
              <p:cNvSpPr/>
              <p:nvPr userDrawn="1"/>
            </p:nvSpPr>
            <p:spPr bwMode="auto">
              <a:xfrm>
                <a:off x="531648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0" name="Rectangle 229"/>
              <p:cNvSpPr/>
              <p:nvPr userDrawn="1"/>
            </p:nvSpPr>
            <p:spPr bwMode="auto">
              <a:xfrm>
                <a:off x="520840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1" name="Rectangle 230"/>
              <p:cNvSpPr/>
              <p:nvPr userDrawn="1"/>
            </p:nvSpPr>
            <p:spPr bwMode="auto">
              <a:xfrm>
                <a:off x="5100322" y="6459119"/>
                <a:ext cx="76044" cy="7559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6"/>
              <p:cNvSpPr>
                <a:spLocks noChangeArrowheads="1"/>
              </p:cNvSpPr>
              <p:nvPr userDrawn="1"/>
            </p:nvSpPr>
            <p:spPr bwMode="auto">
              <a:xfrm flipH="1">
                <a:off x="5100321" y="6253060"/>
                <a:ext cx="108080" cy="5468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sp>
          <p:nvSpPr>
            <p:cNvPr id="134" name="Rectangle 10"/>
            <p:cNvSpPr>
              <a:spLocks noChangeArrowheads="1"/>
            </p:cNvSpPr>
            <p:nvPr/>
          </p:nvSpPr>
          <p:spPr bwMode="auto">
            <a:xfrm flipH="1">
              <a:off x="1370769" y="5878855"/>
              <a:ext cx="546632" cy="600576"/>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nvGrpSpPr>
            <p:cNvPr id="138" name="Group 137"/>
            <p:cNvGrpSpPr/>
            <p:nvPr userDrawn="1"/>
          </p:nvGrpSpPr>
          <p:grpSpPr>
            <a:xfrm>
              <a:off x="1321042" y="5793049"/>
              <a:ext cx="818370" cy="686381"/>
              <a:chOff x="1321042" y="5793049"/>
              <a:chExt cx="818370" cy="686381"/>
            </a:xfrm>
          </p:grpSpPr>
          <p:sp>
            <p:nvSpPr>
              <p:cNvPr id="199" name="Rectangle 9"/>
              <p:cNvSpPr>
                <a:spLocks noChangeArrowheads="1"/>
              </p:cNvSpPr>
              <p:nvPr/>
            </p:nvSpPr>
            <p:spPr bwMode="auto">
              <a:xfrm flipH="1">
                <a:off x="1592780" y="6228918"/>
                <a:ext cx="546632" cy="2505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nvGrpSpPr>
              <p:cNvPr id="200" name="Group 199"/>
              <p:cNvGrpSpPr/>
              <p:nvPr userDrawn="1"/>
            </p:nvGrpSpPr>
            <p:grpSpPr>
              <a:xfrm>
                <a:off x="1321042" y="5793049"/>
                <a:ext cx="764532" cy="599334"/>
                <a:chOff x="1321042" y="5793049"/>
                <a:chExt cx="764532" cy="599334"/>
              </a:xfrm>
            </p:grpSpPr>
            <p:sp>
              <p:nvSpPr>
                <p:cNvPr id="201" name="Rectangle 6"/>
                <p:cNvSpPr>
                  <a:spLocks noChangeArrowheads="1"/>
                </p:cNvSpPr>
                <p:nvPr userDrawn="1"/>
              </p:nvSpPr>
              <p:spPr bwMode="auto">
                <a:xfrm flipH="1">
                  <a:off x="1370769" y="5793049"/>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202" name="Rectangle 201"/>
                <p:cNvSpPr/>
                <p:nvPr userDrawn="1"/>
              </p:nvSpPr>
              <p:spPr bwMode="auto">
                <a:xfrm>
                  <a:off x="1949600" y="6266909"/>
                  <a:ext cx="135230" cy="12547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3" name="Rectangle 6"/>
                <p:cNvSpPr>
                  <a:spLocks noChangeArrowheads="1"/>
                </p:cNvSpPr>
                <p:nvPr userDrawn="1"/>
              </p:nvSpPr>
              <p:spPr bwMode="auto">
                <a:xfrm flipH="1">
                  <a:off x="1321042" y="5844430"/>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204" name="Rectangle 203"/>
                <p:cNvSpPr/>
                <p:nvPr userDrawn="1"/>
              </p:nvSpPr>
              <p:spPr bwMode="auto">
                <a:xfrm>
                  <a:off x="1409374"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5" name="Rectangle 204"/>
                <p:cNvSpPr/>
                <p:nvPr userDrawn="1"/>
              </p:nvSpPr>
              <p:spPr bwMode="auto">
                <a:xfrm>
                  <a:off x="1534990"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6" name="Rectangle 205"/>
                <p:cNvSpPr/>
                <p:nvPr userDrawn="1"/>
              </p:nvSpPr>
              <p:spPr bwMode="auto">
                <a:xfrm>
                  <a:off x="1661403"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7" name="Rectangle 206"/>
                <p:cNvSpPr/>
                <p:nvPr userDrawn="1"/>
              </p:nvSpPr>
              <p:spPr bwMode="auto">
                <a:xfrm>
                  <a:off x="1794849" y="5909621"/>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8" name="Rectangle 207"/>
                <p:cNvSpPr/>
                <p:nvPr userDrawn="1"/>
              </p:nvSpPr>
              <p:spPr bwMode="auto">
                <a:xfrm>
                  <a:off x="1409374"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9" name="Rectangle 208"/>
                <p:cNvSpPr/>
                <p:nvPr userDrawn="1"/>
              </p:nvSpPr>
              <p:spPr bwMode="auto">
                <a:xfrm>
                  <a:off x="1534990"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0" name="Rectangle 209"/>
                <p:cNvSpPr/>
                <p:nvPr userDrawn="1"/>
              </p:nvSpPr>
              <p:spPr bwMode="auto">
                <a:xfrm>
                  <a:off x="1661403"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1" name="Rectangle 210"/>
                <p:cNvSpPr/>
                <p:nvPr userDrawn="1"/>
              </p:nvSpPr>
              <p:spPr bwMode="auto">
                <a:xfrm>
                  <a:off x="1794849" y="6028612"/>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Rectangle 211"/>
                <p:cNvSpPr/>
                <p:nvPr userDrawn="1"/>
              </p:nvSpPr>
              <p:spPr bwMode="auto">
                <a:xfrm>
                  <a:off x="1409374"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3" name="Rectangle 212"/>
                <p:cNvSpPr/>
                <p:nvPr userDrawn="1"/>
              </p:nvSpPr>
              <p:spPr bwMode="auto">
                <a:xfrm>
                  <a:off x="1534990"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4" name="Rectangle 213"/>
                <p:cNvSpPr/>
                <p:nvPr userDrawn="1"/>
              </p:nvSpPr>
              <p:spPr bwMode="auto">
                <a:xfrm>
                  <a:off x="1661403"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5" name="Rectangle 214"/>
                <p:cNvSpPr/>
                <p:nvPr userDrawn="1"/>
              </p:nvSpPr>
              <p:spPr bwMode="auto">
                <a:xfrm>
                  <a:off x="1794849" y="6147603"/>
                  <a:ext cx="83947" cy="82311"/>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6" name="Rectangle 215"/>
                <p:cNvSpPr/>
                <p:nvPr userDrawn="1"/>
              </p:nvSpPr>
              <p:spPr bwMode="auto">
                <a:xfrm>
                  <a:off x="1534990" y="6266591"/>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7" name="Rectangle 216"/>
                <p:cNvSpPr/>
                <p:nvPr userDrawn="1"/>
              </p:nvSpPr>
              <p:spPr bwMode="auto">
                <a:xfrm>
                  <a:off x="1661403" y="6266595"/>
                  <a:ext cx="83947" cy="12578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18" name="Rectangle 6"/>
                <p:cNvSpPr>
                  <a:spLocks noChangeArrowheads="1"/>
                </p:cNvSpPr>
                <p:nvPr userDrawn="1"/>
              </p:nvSpPr>
              <p:spPr bwMode="auto">
                <a:xfrm flipH="1">
                  <a:off x="1994134" y="6182191"/>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grpSp>
        <p:sp>
          <p:nvSpPr>
            <p:cNvPr id="139" name="Rectangle 6"/>
            <p:cNvSpPr>
              <a:spLocks noChangeArrowheads="1"/>
            </p:cNvSpPr>
            <p:nvPr userDrawn="1"/>
          </p:nvSpPr>
          <p:spPr bwMode="auto">
            <a:xfrm flipH="1">
              <a:off x="3416895" y="5783525"/>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40" name="Rectangle 6"/>
            <p:cNvSpPr>
              <a:spLocks noChangeArrowheads="1"/>
            </p:cNvSpPr>
            <p:nvPr userDrawn="1"/>
          </p:nvSpPr>
          <p:spPr bwMode="auto">
            <a:xfrm flipH="1">
              <a:off x="3524041" y="5783525"/>
              <a:ext cx="91440" cy="5062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41" name="Freeform 140"/>
            <p:cNvSpPr/>
            <p:nvPr userDrawn="1"/>
          </p:nvSpPr>
          <p:spPr bwMode="auto">
            <a:xfrm>
              <a:off x="6379408" y="4259543"/>
              <a:ext cx="6057067" cy="2672664"/>
            </a:xfrm>
            <a:custGeom>
              <a:avLst/>
              <a:gdLst>
                <a:gd name="connsiteX0" fmla="*/ 4570810 w 5517033"/>
                <a:gd name="connsiteY0" fmla="*/ 276 h 2567132"/>
                <a:gd name="connsiteX1" fmla="*/ 4930257 w 5517033"/>
                <a:gd name="connsiteY1" fmla="*/ 66363 h 2567132"/>
                <a:gd name="connsiteX2" fmla="*/ 5495936 w 5517033"/>
                <a:gd name="connsiteY2" fmla="*/ 500889 h 2567132"/>
                <a:gd name="connsiteX3" fmla="*/ 5517033 w 5517033"/>
                <a:gd name="connsiteY3" fmla="*/ 538622 h 2567132"/>
                <a:gd name="connsiteX4" fmla="*/ 5517033 w 5517033"/>
                <a:gd name="connsiteY4" fmla="*/ 2567132 h 2567132"/>
                <a:gd name="connsiteX5" fmla="*/ 4698650 w 5517033"/>
                <a:gd name="connsiteY5" fmla="*/ 2567132 h 2567132"/>
                <a:gd name="connsiteX6" fmla="*/ 4685082 w 5517033"/>
                <a:gd name="connsiteY6" fmla="*/ 2538830 h 2567132"/>
                <a:gd name="connsiteX7" fmla="*/ 4664553 w 5517033"/>
                <a:gd name="connsiteY7" fmla="*/ 2543684 h 2567132"/>
                <a:gd name="connsiteX8" fmla="*/ 4067407 w 5517033"/>
                <a:gd name="connsiteY8" fmla="*/ 2496849 h 2567132"/>
                <a:gd name="connsiteX9" fmla="*/ 3974855 w 5517033"/>
                <a:gd name="connsiteY9" fmla="*/ 2458290 h 2567132"/>
                <a:gd name="connsiteX10" fmla="*/ 3928808 w 5517033"/>
                <a:gd name="connsiteY10" fmla="*/ 2567132 h 2567132"/>
                <a:gd name="connsiteX11" fmla="*/ 206432 w 5517033"/>
                <a:gd name="connsiteY11" fmla="*/ 2567132 h 2567132"/>
                <a:gd name="connsiteX12" fmla="*/ 100849 w 5517033"/>
                <a:gd name="connsiteY12" fmla="*/ 2376049 h 2567132"/>
                <a:gd name="connsiteX13" fmla="*/ 0 w 5517033"/>
                <a:gd name="connsiteY13" fmla="*/ 1885357 h 2567132"/>
                <a:gd name="connsiteX14" fmla="*/ 1283310 w 5517033"/>
                <a:gd name="connsiteY14" fmla="*/ 624734 h 2567132"/>
                <a:gd name="connsiteX15" fmla="*/ 2099615 w 5517033"/>
                <a:gd name="connsiteY15" fmla="*/ 912599 h 2567132"/>
                <a:gd name="connsiteX16" fmla="*/ 2168877 w 5517033"/>
                <a:gd name="connsiteY16" fmla="*/ 974436 h 2567132"/>
                <a:gd name="connsiteX17" fmla="*/ 2169542 w 5517033"/>
                <a:gd name="connsiteY17" fmla="*/ 973538 h 2567132"/>
                <a:gd name="connsiteX18" fmla="*/ 2713214 w 5517033"/>
                <a:gd name="connsiteY18" fmla="*/ 637809 h 2567132"/>
                <a:gd name="connsiteX19" fmla="*/ 3344963 w 5517033"/>
                <a:gd name="connsiteY19" fmla="*/ 733655 h 2567132"/>
                <a:gd name="connsiteX20" fmla="*/ 3403193 w 5517033"/>
                <a:gd name="connsiteY20" fmla="*/ 767841 h 2567132"/>
                <a:gd name="connsiteX21" fmla="*/ 3441779 w 5517033"/>
                <a:gd name="connsiteY21" fmla="*/ 680993 h 2567132"/>
                <a:gd name="connsiteX22" fmla="*/ 4570810 w 5517033"/>
                <a:gd name="connsiteY22" fmla="*/ 276 h 2567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517033" h="2567132">
                  <a:moveTo>
                    <a:pt x="4570810" y="276"/>
                  </a:moveTo>
                  <a:cubicBezTo>
                    <a:pt x="4690837" y="2905"/>
                    <a:pt x="4811840" y="24324"/>
                    <a:pt x="4930257" y="66363"/>
                  </a:cubicBezTo>
                  <a:cubicBezTo>
                    <a:pt x="5167091" y="150442"/>
                    <a:pt x="5359946" y="305063"/>
                    <a:pt x="5495936" y="500889"/>
                  </a:cubicBezTo>
                  <a:lnTo>
                    <a:pt x="5517033" y="538622"/>
                  </a:lnTo>
                  <a:lnTo>
                    <a:pt x="5517033" y="2567132"/>
                  </a:lnTo>
                  <a:lnTo>
                    <a:pt x="4698650" y="2567132"/>
                  </a:lnTo>
                  <a:lnTo>
                    <a:pt x="4685082" y="2538830"/>
                  </a:lnTo>
                  <a:lnTo>
                    <a:pt x="4664553" y="2543684"/>
                  </a:lnTo>
                  <a:cubicBezTo>
                    <a:pt x="4469314" y="2579701"/>
                    <a:pt x="4264768" y="2566914"/>
                    <a:pt x="4067407" y="2496849"/>
                  </a:cubicBezTo>
                  <a:lnTo>
                    <a:pt x="3974855" y="2458290"/>
                  </a:lnTo>
                  <a:lnTo>
                    <a:pt x="3928808" y="2567132"/>
                  </a:lnTo>
                  <a:lnTo>
                    <a:pt x="206432" y="2567132"/>
                  </a:lnTo>
                  <a:lnTo>
                    <a:pt x="100849" y="2376049"/>
                  </a:lnTo>
                  <a:cubicBezTo>
                    <a:pt x="35910" y="2225230"/>
                    <a:pt x="0" y="2059413"/>
                    <a:pt x="0" y="1885357"/>
                  </a:cubicBezTo>
                  <a:cubicBezTo>
                    <a:pt x="0" y="1189134"/>
                    <a:pt x="574557" y="624734"/>
                    <a:pt x="1283310" y="624734"/>
                  </a:cubicBezTo>
                  <a:cubicBezTo>
                    <a:pt x="1593390" y="624734"/>
                    <a:pt x="1877783" y="732764"/>
                    <a:pt x="2099615" y="912599"/>
                  </a:cubicBezTo>
                  <a:lnTo>
                    <a:pt x="2168877" y="974436"/>
                  </a:lnTo>
                  <a:lnTo>
                    <a:pt x="2169542" y="973538"/>
                  </a:lnTo>
                  <a:cubicBezTo>
                    <a:pt x="2309504" y="803063"/>
                    <a:pt x="2495513" y="682238"/>
                    <a:pt x="2713214" y="637809"/>
                  </a:cubicBezTo>
                  <a:cubicBezTo>
                    <a:pt x="2930915" y="593380"/>
                    <a:pt x="3149394" y="631656"/>
                    <a:pt x="3344963" y="733655"/>
                  </a:cubicBezTo>
                  <a:lnTo>
                    <a:pt x="3403193" y="767841"/>
                  </a:lnTo>
                  <a:lnTo>
                    <a:pt x="3441779" y="680993"/>
                  </a:lnTo>
                  <a:cubicBezTo>
                    <a:pt x="3674629" y="250475"/>
                    <a:pt x="4115705" y="-9692"/>
                    <a:pt x="4570810" y="276"/>
                  </a:cubicBezTo>
                  <a:close/>
                </a:path>
              </a:pathLst>
            </a:cu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Freeform 141"/>
            <p:cNvSpPr/>
            <p:nvPr userDrawn="1"/>
          </p:nvSpPr>
          <p:spPr bwMode="auto">
            <a:xfrm>
              <a:off x="5679203" y="5145906"/>
              <a:ext cx="6757272" cy="1848619"/>
            </a:xfrm>
            <a:custGeom>
              <a:avLst/>
              <a:gdLst>
                <a:gd name="connsiteX0" fmla="*/ 3851784 w 6124647"/>
                <a:gd name="connsiteY0" fmla="*/ 0 h 1683800"/>
                <a:gd name="connsiteX1" fmla="*/ 4523314 w 6124647"/>
                <a:gd name="connsiteY1" fmla="*/ 376999 h 1683800"/>
                <a:gd name="connsiteX2" fmla="*/ 4592489 w 6124647"/>
                <a:gd name="connsiteY2" fmla="*/ 511566 h 1683800"/>
                <a:gd name="connsiteX3" fmla="*/ 4602721 w 6124647"/>
                <a:gd name="connsiteY3" fmla="*/ 508423 h 1683800"/>
                <a:gd name="connsiteX4" fmla="*/ 5180274 w 6124647"/>
                <a:gd name="connsiteY4" fmla="*/ 512725 h 1683800"/>
                <a:gd name="connsiteX5" fmla="*/ 5708720 w 6124647"/>
                <a:gd name="connsiteY5" fmla="*/ 745815 h 1683800"/>
                <a:gd name="connsiteX6" fmla="*/ 5821227 w 6124647"/>
                <a:gd name="connsiteY6" fmla="*/ 844686 h 1683800"/>
                <a:gd name="connsiteX7" fmla="*/ 5889469 w 6124647"/>
                <a:gd name="connsiteY7" fmla="*/ 761574 h 1683800"/>
                <a:gd name="connsiteX8" fmla="*/ 6106171 w 6124647"/>
                <a:gd name="connsiteY8" fmla="*/ 614758 h 1683800"/>
                <a:gd name="connsiteX9" fmla="*/ 6124647 w 6124647"/>
                <a:gd name="connsiteY9" fmla="*/ 608995 h 1683800"/>
                <a:gd name="connsiteX10" fmla="*/ 6124647 w 6124647"/>
                <a:gd name="connsiteY10" fmla="*/ 1683800 h 1683800"/>
                <a:gd name="connsiteX11" fmla="*/ 5851202 w 6124647"/>
                <a:gd name="connsiteY11" fmla="*/ 1683800 h 1683800"/>
                <a:gd name="connsiteX12" fmla="*/ 5845408 w 6124647"/>
                <a:gd name="connsiteY12" fmla="*/ 1676743 h 1683800"/>
                <a:gd name="connsiteX13" fmla="*/ 5836747 w 6124647"/>
                <a:gd name="connsiteY13" fmla="*/ 1683800 h 1683800"/>
                <a:gd name="connsiteX14" fmla="*/ 4462237 w 6124647"/>
                <a:gd name="connsiteY14" fmla="*/ 1683800 h 1683800"/>
                <a:gd name="connsiteX15" fmla="*/ 4364290 w 6124647"/>
                <a:gd name="connsiteY15" fmla="*/ 1619259 h 1683800"/>
                <a:gd name="connsiteX16" fmla="*/ 4302751 w 6124647"/>
                <a:gd name="connsiteY16" fmla="*/ 1565179 h 1683800"/>
                <a:gd name="connsiteX17" fmla="*/ 4167009 w 6124647"/>
                <a:gd name="connsiteY17" fmla="*/ 1642973 h 1683800"/>
                <a:gd name="connsiteX18" fmla="*/ 4092605 w 6124647"/>
                <a:gd name="connsiteY18" fmla="*/ 1671727 h 1683800"/>
                <a:gd name="connsiteX19" fmla="*/ 4048136 w 6124647"/>
                <a:gd name="connsiteY19" fmla="*/ 1683800 h 1683800"/>
                <a:gd name="connsiteX20" fmla="*/ 3660576 w 6124647"/>
                <a:gd name="connsiteY20" fmla="*/ 1683800 h 1683800"/>
                <a:gd name="connsiteX21" fmla="*/ 3610963 w 6124647"/>
                <a:gd name="connsiteY21" fmla="*/ 1671727 h 1683800"/>
                <a:gd name="connsiteX22" fmla="*/ 3398996 w 6124647"/>
                <a:gd name="connsiteY22" fmla="*/ 1564135 h 1683800"/>
                <a:gd name="connsiteX23" fmla="*/ 3367239 w 6124647"/>
                <a:gd name="connsiteY23" fmla="*/ 1536469 h 1683800"/>
                <a:gd name="connsiteX24" fmla="*/ 3317249 w 6124647"/>
                <a:gd name="connsiteY24" fmla="*/ 1629017 h 1683800"/>
                <a:gd name="connsiteX25" fmla="*/ 3270037 w 6124647"/>
                <a:gd name="connsiteY25" fmla="*/ 1683800 h 1683800"/>
                <a:gd name="connsiteX26" fmla="*/ 2231593 w 6124647"/>
                <a:gd name="connsiteY26" fmla="*/ 1683800 h 1683800"/>
                <a:gd name="connsiteX27" fmla="*/ 2203485 w 6124647"/>
                <a:gd name="connsiteY27" fmla="*/ 1649568 h 1683800"/>
                <a:gd name="connsiteX28" fmla="*/ 2175780 w 6124647"/>
                <a:gd name="connsiteY28" fmla="*/ 1683800 h 1683800"/>
                <a:gd name="connsiteX29" fmla="*/ 0 w 6124647"/>
                <a:gd name="connsiteY29" fmla="*/ 1683800 h 1683800"/>
                <a:gd name="connsiteX30" fmla="*/ 16325 w 6124647"/>
                <a:gd name="connsiteY30" fmla="*/ 1507786 h 1683800"/>
                <a:gd name="connsiteX31" fmla="*/ 931375 w 6124647"/>
                <a:gd name="connsiteY31" fmla="*/ 697224 h 1683800"/>
                <a:gd name="connsiteX32" fmla="*/ 1294940 w 6124647"/>
                <a:gd name="connsiteY32" fmla="*/ 777000 h 1683800"/>
                <a:gd name="connsiteX33" fmla="*/ 1326185 w 6124647"/>
                <a:gd name="connsiteY33" fmla="*/ 793358 h 1683800"/>
                <a:gd name="connsiteX34" fmla="*/ 1327996 w 6124647"/>
                <a:gd name="connsiteY34" fmla="*/ 789334 h 1683800"/>
                <a:gd name="connsiteX35" fmla="*/ 1798854 w 6124647"/>
                <a:gd name="connsiteY35" fmla="*/ 487294 h 1683800"/>
                <a:gd name="connsiteX36" fmla="*/ 2200375 w 6124647"/>
                <a:gd name="connsiteY36" fmla="*/ 687945 h 1683800"/>
                <a:gd name="connsiteX37" fmla="*/ 2259421 w 6124647"/>
                <a:gd name="connsiteY37" fmla="*/ 774286 h 1683800"/>
                <a:gd name="connsiteX38" fmla="*/ 2269859 w 6124647"/>
                <a:gd name="connsiteY38" fmla="*/ 761574 h 1683800"/>
                <a:gd name="connsiteX39" fmla="*/ 2751930 w 6124647"/>
                <a:gd name="connsiteY39" fmla="*/ 560922 h 1683800"/>
                <a:gd name="connsiteX40" fmla="*/ 3017298 w 6124647"/>
                <a:gd name="connsiteY40" fmla="*/ 614758 h 1683800"/>
                <a:gd name="connsiteX41" fmla="*/ 3069948 w 6124647"/>
                <a:gd name="connsiteY41" fmla="*/ 643474 h 1683800"/>
                <a:gd name="connsiteX42" fmla="*/ 3105588 w 6124647"/>
                <a:gd name="connsiteY42" fmla="*/ 522247 h 1683800"/>
                <a:gd name="connsiteX43" fmla="*/ 3851784 w 6124647"/>
                <a:gd name="connsiteY43" fmla="*/ 0 h 168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6124647" h="1683800">
                  <a:moveTo>
                    <a:pt x="3851784" y="0"/>
                  </a:moveTo>
                  <a:cubicBezTo>
                    <a:pt x="4131322" y="0"/>
                    <a:pt x="4377780" y="149545"/>
                    <a:pt x="4523314" y="376999"/>
                  </a:cubicBezTo>
                  <a:lnTo>
                    <a:pt x="4592489" y="511566"/>
                  </a:lnTo>
                  <a:lnTo>
                    <a:pt x="4602721" y="508423"/>
                  </a:lnTo>
                  <a:cubicBezTo>
                    <a:pt x="4776080" y="470083"/>
                    <a:pt x="4975431" y="468758"/>
                    <a:pt x="5180274" y="512725"/>
                  </a:cubicBezTo>
                  <a:cubicBezTo>
                    <a:pt x="5385117" y="556693"/>
                    <a:pt x="5566365" y="639710"/>
                    <a:pt x="5708720" y="745815"/>
                  </a:cubicBezTo>
                  <a:lnTo>
                    <a:pt x="5821227" y="844686"/>
                  </a:lnTo>
                  <a:lnTo>
                    <a:pt x="5889469" y="761574"/>
                  </a:lnTo>
                  <a:cubicBezTo>
                    <a:pt x="5951155" y="699588"/>
                    <a:pt x="6024608" y="649425"/>
                    <a:pt x="6106171" y="614758"/>
                  </a:cubicBezTo>
                  <a:lnTo>
                    <a:pt x="6124647" y="608995"/>
                  </a:lnTo>
                  <a:lnTo>
                    <a:pt x="6124647" y="1683800"/>
                  </a:lnTo>
                  <a:lnTo>
                    <a:pt x="5851202" y="1683800"/>
                  </a:lnTo>
                  <a:lnTo>
                    <a:pt x="5845408" y="1676743"/>
                  </a:lnTo>
                  <a:lnTo>
                    <a:pt x="5836747" y="1683800"/>
                  </a:lnTo>
                  <a:lnTo>
                    <a:pt x="4462237" y="1683800"/>
                  </a:lnTo>
                  <a:lnTo>
                    <a:pt x="4364290" y="1619259"/>
                  </a:lnTo>
                  <a:lnTo>
                    <a:pt x="4302751" y="1565179"/>
                  </a:lnTo>
                  <a:lnTo>
                    <a:pt x="4167009" y="1642973"/>
                  </a:lnTo>
                  <a:cubicBezTo>
                    <a:pt x="4142787" y="1653791"/>
                    <a:pt x="4117963" y="1663399"/>
                    <a:pt x="4092605" y="1671727"/>
                  </a:cubicBezTo>
                  <a:lnTo>
                    <a:pt x="4048136" y="1683800"/>
                  </a:lnTo>
                  <a:lnTo>
                    <a:pt x="3660576" y="1683800"/>
                  </a:lnTo>
                  <a:lnTo>
                    <a:pt x="3610963" y="1671727"/>
                  </a:lnTo>
                  <a:cubicBezTo>
                    <a:pt x="3534888" y="1646744"/>
                    <a:pt x="3463622" y="1610235"/>
                    <a:pt x="3398996" y="1564135"/>
                  </a:cubicBezTo>
                  <a:lnTo>
                    <a:pt x="3367239" y="1536469"/>
                  </a:lnTo>
                  <a:lnTo>
                    <a:pt x="3317249" y="1629017"/>
                  </a:lnTo>
                  <a:lnTo>
                    <a:pt x="3270037" y="1683800"/>
                  </a:lnTo>
                  <a:lnTo>
                    <a:pt x="2231593" y="1683800"/>
                  </a:lnTo>
                  <a:lnTo>
                    <a:pt x="2203485" y="1649568"/>
                  </a:lnTo>
                  <a:lnTo>
                    <a:pt x="2175780" y="1683800"/>
                  </a:lnTo>
                  <a:lnTo>
                    <a:pt x="0" y="1683800"/>
                  </a:lnTo>
                  <a:lnTo>
                    <a:pt x="16325" y="1507786"/>
                  </a:lnTo>
                  <a:cubicBezTo>
                    <a:pt x="103420" y="1045199"/>
                    <a:pt x="480008" y="697224"/>
                    <a:pt x="931375" y="697224"/>
                  </a:cubicBezTo>
                  <a:cubicBezTo>
                    <a:pt x="1060337" y="697224"/>
                    <a:pt x="1183195" y="725630"/>
                    <a:pt x="1294940" y="777000"/>
                  </a:cubicBezTo>
                  <a:lnTo>
                    <a:pt x="1326185" y="793358"/>
                  </a:lnTo>
                  <a:lnTo>
                    <a:pt x="1327996" y="789334"/>
                  </a:lnTo>
                  <a:cubicBezTo>
                    <a:pt x="1430040" y="607104"/>
                    <a:pt x="1602850" y="487294"/>
                    <a:pt x="1798854" y="487294"/>
                  </a:cubicBezTo>
                  <a:cubicBezTo>
                    <a:pt x="1955658" y="487294"/>
                    <a:pt x="2097617" y="563973"/>
                    <a:pt x="2200375" y="687945"/>
                  </a:cubicBezTo>
                  <a:lnTo>
                    <a:pt x="2259421" y="774286"/>
                  </a:lnTo>
                  <a:lnTo>
                    <a:pt x="2269859" y="761574"/>
                  </a:lnTo>
                  <a:cubicBezTo>
                    <a:pt x="2393232" y="637601"/>
                    <a:pt x="2563669" y="560922"/>
                    <a:pt x="2751930" y="560922"/>
                  </a:cubicBezTo>
                  <a:cubicBezTo>
                    <a:pt x="2846060" y="560922"/>
                    <a:pt x="2935735" y="580091"/>
                    <a:pt x="3017298" y="614758"/>
                  </a:cubicBezTo>
                  <a:lnTo>
                    <a:pt x="3069948" y="643474"/>
                  </a:lnTo>
                  <a:lnTo>
                    <a:pt x="3105588" y="522247"/>
                  </a:lnTo>
                  <a:cubicBezTo>
                    <a:pt x="3228528" y="215344"/>
                    <a:pt x="3516338" y="0"/>
                    <a:pt x="3851784" y="0"/>
                  </a:cubicBez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Freeform 8"/>
            <p:cNvSpPr>
              <a:spLocks/>
            </p:cNvSpPr>
            <p:nvPr userDrawn="1"/>
          </p:nvSpPr>
          <p:spPr bwMode="auto">
            <a:xfrm>
              <a:off x="5349875" y="6106793"/>
              <a:ext cx="3834363" cy="897589"/>
            </a:xfrm>
            <a:custGeom>
              <a:avLst/>
              <a:gdLst>
                <a:gd name="T0" fmla="*/ 1147 w 1856"/>
                <a:gd name="T1" fmla="*/ 68 h 434"/>
                <a:gd name="T2" fmla="*/ 0 w 1856"/>
                <a:gd name="T3" fmla="*/ 434 h 434"/>
                <a:gd name="T4" fmla="*/ 657 w 1856"/>
                <a:gd name="T5" fmla="*/ 434 h 434"/>
                <a:gd name="T6" fmla="*/ 1856 w 1856"/>
                <a:gd name="T7" fmla="*/ 434 h 434"/>
                <a:gd name="T8" fmla="*/ 1147 w 1856"/>
                <a:gd name="T9" fmla="*/ 68 h 434"/>
              </a:gdLst>
              <a:ahLst/>
              <a:cxnLst>
                <a:cxn ang="0">
                  <a:pos x="T0" y="T1"/>
                </a:cxn>
                <a:cxn ang="0">
                  <a:pos x="T2" y="T3"/>
                </a:cxn>
                <a:cxn ang="0">
                  <a:pos x="T4" y="T5"/>
                </a:cxn>
                <a:cxn ang="0">
                  <a:pos x="T6" y="T7"/>
                </a:cxn>
                <a:cxn ang="0">
                  <a:pos x="T8" y="T9"/>
                </a:cxn>
              </a:cxnLst>
              <a:rect l="0" t="0" r="r" b="b"/>
              <a:pathLst>
                <a:path w="1856" h="434">
                  <a:moveTo>
                    <a:pt x="1147" y="68"/>
                  </a:moveTo>
                  <a:cubicBezTo>
                    <a:pt x="743" y="0"/>
                    <a:pt x="313" y="122"/>
                    <a:pt x="0" y="434"/>
                  </a:cubicBezTo>
                  <a:cubicBezTo>
                    <a:pt x="657" y="434"/>
                    <a:pt x="657" y="434"/>
                    <a:pt x="657" y="434"/>
                  </a:cubicBezTo>
                  <a:cubicBezTo>
                    <a:pt x="1856" y="434"/>
                    <a:pt x="1856" y="434"/>
                    <a:pt x="1856" y="434"/>
                  </a:cubicBezTo>
                  <a:cubicBezTo>
                    <a:pt x="1655" y="234"/>
                    <a:pt x="1406" y="112"/>
                    <a:pt x="1147" y="6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49">
                <a:defRPr/>
              </a:pPr>
              <a:endParaRPr lang="en-US" sz="1800" kern="0">
                <a:solidFill>
                  <a:srgbClr val="000000"/>
                </a:solidFill>
              </a:endParaRPr>
            </a:p>
          </p:txBody>
        </p:sp>
        <p:sp>
          <p:nvSpPr>
            <p:cNvPr id="144" name="Freeform 9"/>
            <p:cNvSpPr>
              <a:spLocks/>
            </p:cNvSpPr>
            <p:nvPr userDrawn="1"/>
          </p:nvSpPr>
          <p:spPr bwMode="auto">
            <a:xfrm>
              <a:off x="7104968" y="5672812"/>
              <a:ext cx="5331507" cy="1331570"/>
            </a:xfrm>
            <a:custGeom>
              <a:avLst/>
              <a:gdLst>
                <a:gd name="T0" fmla="*/ 2029 w 2821"/>
                <a:gd name="T1" fmla="*/ 88 h 644"/>
                <a:gd name="T2" fmla="*/ 1032 w 2821"/>
                <a:gd name="T3" fmla="*/ 74 h 644"/>
                <a:gd name="T4" fmla="*/ 0 w 2821"/>
                <a:gd name="T5" fmla="*/ 644 h 644"/>
                <a:gd name="T6" fmla="*/ 2821 w 2821"/>
                <a:gd name="T7" fmla="*/ 644 h 644"/>
                <a:gd name="T8" fmla="*/ 2821 w 2821"/>
                <a:gd name="T9" fmla="*/ 483 h 644"/>
                <a:gd name="T10" fmla="*/ 2029 w 2821"/>
                <a:gd name="T11" fmla="*/ 88 h 644"/>
              </a:gdLst>
              <a:ahLst/>
              <a:cxnLst>
                <a:cxn ang="0">
                  <a:pos x="T0" y="T1"/>
                </a:cxn>
                <a:cxn ang="0">
                  <a:pos x="T2" y="T3"/>
                </a:cxn>
                <a:cxn ang="0">
                  <a:pos x="T4" y="T5"/>
                </a:cxn>
                <a:cxn ang="0">
                  <a:pos x="T6" y="T7"/>
                </a:cxn>
                <a:cxn ang="0">
                  <a:pos x="T8" y="T9"/>
                </a:cxn>
                <a:cxn ang="0">
                  <a:pos x="T10" y="T11"/>
                </a:cxn>
              </a:cxnLst>
              <a:rect l="0" t="0" r="r" b="b"/>
              <a:pathLst>
                <a:path w="2821" h="644">
                  <a:moveTo>
                    <a:pt x="2029" y="88"/>
                  </a:moveTo>
                  <a:cubicBezTo>
                    <a:pt x="1702" y="5"/>
                    <a:pt x="1360" y="0"/>
                    <a:pt x="1032" y="74"/>
                  </a:cubicBezTo>
                  <a:cubicBezTo>
                    <a:pt x="654" y="160"/>
                    <a:pt x="295" y="349"/>
                    <a:pt x="0" y="644"/>
                  </a:cubicBezTo>
                  <a:cubicBezTo>
                    <a:pt x="2821" y="644"/>
                    <a:pt x="2821" y="644"/>
                    <a:pt x="2821" y="644"/>
                  </a:cubicBezTo>
                  <a:cubicBezTo>
                    <a:pt x="2821" y="483"/>
                    <a:pt x="2821" y="483"/>
                    <a:pt x="2821" y="483"/>
                  </a:cubicBezTo>
                  <a:cubicBezTo>
                    <a:pt x="2582" y="292"/>
                    <a:pt x="2311" y="161"/>
                    <a:pt x="2029" y="8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49">
                <a:defRPr/>
              </a:pPr>
              <a:endParaRPr lang="en-US" sz="1800" kern="0">
                <a:solidFill>
                  <a:srgbClr val="000000"/>
                </a:solidFill>
              </a:endParaRPr>
            </a:p>
          </p:txBody>
        </p:sp>
        <p:sp>
          <p:nvSpPr>
            <p:cNvPr id="145" name="Freeform 15"/>
            <p:cNvSpPr>
              <a:spLocks/>
            </p:cNvSpPr>
            <p:nvPr userDrawn="1"/>
          </p:nvSpPr>
          <p:spPr bwMode="auto">
            <a:xfrm>
              <a:off x="9292174" y="6315940"/>
              <a:ext cx="3144301" cy="688442"/>
            </a:xfrm>
            <a:custGeom>
              <a:avLst/>
              <a:gdLst>
                <a:gd name="T0" fmla="*/ 1210 w 1547"/>
                <a:gd name="T1" fmla="*/ 103 h 333"/>
                <a:gd name="T2" fmla="*/ 956 w 1547"/>
                <a:gd name="T3" fmla="*/ 28 h 333"/>
                <a:gd name="T4" fmla="*/ 825 w 1547"/>
                <a:gd name="T5" fmla="*/ 14 h 333"/>
                <a:gd name="T6" fmla="*/ 0 w 1547"/>
                <a:gd name="T7" fmla="*/ 333 h 333"/>
                <a:gd name="T8" fmla="*/ 547 w 1547"/>
                <a:gd name="T9" fmla="*/ 333 h 333"/>
                <a:gd name="T10" fmla="*/ 1547 w 1547"/>
                <a:gd name="T11" fmla="*/ 333 h 333"/>
                <a:gd name="T12" fmla="*/ 1210 w 1547"/>
                <a:gd name="T13" fmla="*/ 103 h 333"/>
              </a:gdLst>
              <a:ahLst/>
              <a:cxnLst>
                <a:cxn ang="0">
                  <a:pos x="T0" y="T1"/>
                </a:cxn>
                <a:cxn ang="0">
                  <a:pos x="T2" y="T3"/>
                </a:cxn>
                <a:cxn ang="0">
                  <a:pos x="T4" y="T5"/>
                </a:cxn>
                <a:cxn ang="0">
                  <a:pos x="T6" y="T7"/>
                </a:cxn>
                <a:cxn ang="0">
                  <a:pos x="T8" y="T9"/>
                </a:cxn>
                <a:cxn ang="0">
                  <a:pos x="T10" y="T11"/>
                </a:cxn>
                <a:cxn ang="0">
                  <a:pos x="T12" y="T13"/>
                </a:cxn>
              </a:cxnLst>
              <a:rect l="0" t="0" r="r" b="b"/>
              <a:pathLst>
                <a:path w="1547" h="333">
                  <a:moveTo>
                    <a:pt x="1210" y="103"/>
                  </a:moveTo>
                  <a:cubicBezTo>
                    <a:pt x="1128" y="67"/>
                    <a:pt x="1043" y="42"/>
                    <a:pt x="956" y="28"/>
                  </a:cubicBezTo>
                  <a:cubicBezTo>
                    <a:pt x="913" y="20"/>
                    <a:pt x="869" y="16"/>
                    <a:pt x="825" y="14"/>
                  </a:cubicBezTo>
                  <a:cubicBezTo>
                    <a:pt x="528" y="0"/>
                    <a:pt x="227" y="106"/>
                    <a:pt x="0" y="333"/>
                  </a:cubicBezTo>
                  <a:cubicBezTo>
                    <a:pt x="547" y="333"/>
                    <a:pt x="547" y="333"/>
                    <a:pt x="547" y="333"/>
                  </a:cubicBezTo>
                  <a:cubicBezTo>
                    <a:pt x="1547" y="333"/>
                    <a:pt x="1547" y="333"/>
                    <a:pt x="1547" y="333"/>
                  </a:cubicBezTo>
                  <a:cubicBezTo>
                    <a:pt x="1447" y="233"/>
                    <a:pt x="1332" y="156"/>
                    <a:pt x="1210" y="103"/>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949">
                <a:defRPr/>
              </a:pPr>
              <a:endParaRPr lang="en-US" sz="1800" kern="0">
                <a:solidFill>
                  <a:srgbClr val="000000"/>
                </a:solidFill>
              </a:endParaRPr>
            </a:p>
          </p:txBody>
        </p:sp>
        <p:sp>
          <p:nvSpPr>
            <p:cNvPr id="146" name="Freeform 145"/>
            <p:cNvSpPr/>
            <p:nvPr userDrawn="1"/>
          </p:nvSpPr>
          <p:spPr bwMode="auto">
            <a:xfrm>
              <a:off x="6414389" y="5301143"/>
              <a:ext cx="3519207" cy="1693382"/>
            </a:xfrm>
            <a:custGeom>
              <a:avLst/>
              <a:gdLst>
                <a:gd name="connsiteX0" fmla="*/ 0 w 2975675"/>
                <a:gd name="connsiteY0" fmla="*/ 0 h 2247254"/>
                <a:gd name="connsiteX1" fmla="*/ 1441343 w 2975675"/>
                <a:gd name="connsiteY1" fmla="*/ 2247254 h 2247254"/>
                <a:gd name="connsiteX2" fmla="*/ 2975675 w 2975675"/>
                <a:gd name="connsiteY2" fmla="*/ 2247254 h 2247254"/>
                <a:gd name="connsiteX3" fmla="*/ 0 w 2975675"/>
                <a:gd name="connsiteY3" fmla="*/ 0 h 2247254"/>
                <a:gd name="connsiteX0" fmla="*/ 0 w 2975675"/>
                <a:gd name="connsiteY0" fmla="*/ 0 h 2247254"/>
                <a:gd name="connsiteX1" fmla="*/ 1441343 w 2975675"/>
                <a:gd name="connsiteY1" fmla="*/ 2247254 h 2247254"/>
                <a:gd name="connsiteX2" fmla="*/ 2975675 w 2975675"/>
                <a:gd name="connsiteY2" fmla="*/ 2247254 h 2247254"/>
                <a:gd name="connsiteX3" fmla="*/ 0 w 2975675"/>
                <a:gd name="connsiteY3" fmla="*/ 0 h 2247254"/>
                <a:gd name="connsiteX0" fmla="*/ 492515 w 3468190"/>
                <a:gd name="connsiteY0" fmla="*/ 0 h 2247254"/>
                <a:gd name="connsiteX1" fmla="*/ 1933858 w 3468190"/>
                <a:gd name="connsiteY1" fmla="*/ 2247254 h 2247254"/>
                <a:gd name="connsiteX2" fmla="*/ 3468190 w 3468190"/>
                <a:gd name="connsiteY2" fmla="*/ 2247254 h 2247254"/>
                <a:gd name="connsiteX3" fmla="*/ 492515 w 3468190"/>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66538 w 3442213"/>
                <a:gd name="connsiteY0" fmla="*/ 0 h 2247254"/>
                <a:gd name="connsiteX1" fmla="*/ 1907881 w 3442213"/>
                <a:gd name="connsiteY1" fmla="*/ 2247254 h 2247254"/>
                <a:gd name="connsiteX2" fmla="*/ 3442213 w 3442213"/>
                <a:gd name="connsiteY2" fmla="*/ 2247254 h 2247254"/>
                <a:gd name="connsiteX3" fmla="*/ 466538 w 3442213"/>
                <a:gd name="connsiteY3" fmla="*/ 0 h 2247254"/>
                <a:gd name="connsiteX0" fmla="*/ 449805 w 3425480"/>
                <a:gd name="connsiteY0" fmla="*/ 0 h 2247254"/>
                <a:gd name="connsiteX1" fmla="*/ 1891148 w 3425480"/>
                <a:gd name="connsiteY1" fmla="*/ 2247254 h 2247254"/>
                <a:gd name="connsiteX2" fmla="*/ 3425480 w 3425480"/>
                <a:gd name="connsiteY2" fmla="*/ 2247254 h 2247254"/>
                <a:gd name="connsiteX3" fmla="*/ 449805 w 3425480"/>
                <a:gd name="connsiteY3" fmla="*/ 0 h 2247254"/>
                <a:gd name="connsiteX0" fmla="*/ 713333 w 3689008"/>
                <a:gd name="connsiteY0" fmla="*/ 0 h 2247254"/>
                <a:gd name="connsiteX1" fmla="*/ 1506976 w 3689008"/>
                <a:gd name="connsiteY1" fmla="*/ 2234554 h 2247254"/>
                <a:gd name="connsiteX2" fmla="*/ 3689008 w 3689008"/>
                <a:gd name="connsiteY2" fmla="*/ 2247254 h 2247254"/>
                <a:gd name="connsiteX3" fmla="*/ 713333 w 3689008"/>
                <a:gd name="connsiteY3" fmla="*/ 0 h 2247254"/>
                <a:gd name="connsiteX0" fmla="*/ 413689 w 3389364"/>
                <a:gd name="connsiteY0" fmla="*/ 0 h 2247254"/>
                <a:gd name="connsiteX1" fmla="*/ 1207332 w 3389364"/>
                <a:gd name="connsiteY1" fmla="*/ 2234554 h 2247254"/>
                <a:gd name="connsiteX2" fmla="*/ 3389364 w 3389364"/>
                <a:gd name="connsiteY2" fmla="*/ 2247254 h 2247254"/>
                <a:gd name="connsiteX3" fmla="*/ 413689 w 3389364"/>
                <a:gd name="connsiteY3" fmla="*/ 0 h 2247254"/>
                <a:gd name="connsiteX0" fmla="*/ 413689 w 3389364"/>
                <a:gd name="connsiteY0" fmla="*/ 0 h 1993254"/>
                <a:gd name="connsiteX1" fmla="*/ 1207332 w 3389364"/>
                <a:gd name="connsiteY1" fmla="*/ 1980554 h 1993254"/>
                <a:gd name="connsiteX2" fmla="*/ 3389364 w 3389364"/>
                <a:gd name="connsiteY2" fmla="*/ 1993254 h 1993254"/>
                <a:gd name="connsiteX3" fmla="*/ 413689 w 3389364"/>
                <a:gd name="connsiteY3" fmla="*/ 0 h 1993254"/>
                <a:gd name="connsiteX0" fmla="*/ 471792 w 3447467"/>
                <a:gd name="connsiteY0" fmla="*/ 0 h 1993254"/>
                <a:gd name="connsiteX1" fmla="*/ 1100335 w 3447467"/>
                <a:gd name="connsiteY1" fmla="*/ 1993254 h 1993254"/>
                <a:gd name="connsiteX2" fmla="*/ 3447467 w 3447467"/>
                <a:gd name="connsiteY2" fmla="*/ 1993254 h 1993254"/>
                <a:gd name="connsiteX3" fmla="*/ 471792 w 3447467"/>
                <a:gd name="connsiteY3" fmla="*/ 0 h 1993254"/>
                <a:gd name="connsiteX0" fmla="*/ 345722 w 3321397"/>
                <a:gd name="connsiteY0" fmla="*/ 0 h 1993254"/>
                <a:gd name="connsiteX1" fmla="*/ 974265 w 3321397"/>
                <a:gd name="connsiteY1" fmla="*/ 1993254 h 1993254"/>
                <a:gd name="connsiteX2" fmla="*/ 3321397 w 3321397"/>
                <a:gd name="connsiteY2" fmla="*/ 1993254 h 1993254"/>
                <a:gd name="connsiteX3" fmla="*/ 345722 w 3321397"/>
                <a:gd name="connsiteY3" fmla="*/ 0 h 1993254"/>
                <a:gd name="connsiteX0" fmla="*/ 434104 w 3130379"/>
                <a:gd name="connsiteY0" fmla="*/ 0 h 1650354"/>
                <a:gd name="connsiteX1" fmla="*/ 783247 w 3130379"/>
                <a:gd name="connsiteY1" fmla="*/ 1650354 h 1650354"/>
                <a:gd name="connsiteX2" fmla="*/ 3130379 w 3130379"/>
                <a:gd name="connsiteY2" fmla="*/ 1650354 h 1650354"/>
                <a:gd name="connsiteX3" fmla="*/ 434104 w 3130379"/>
                <a:gd name="connsiteY3" fmla="*/ 0 h 1650354"/>
                <a:gd name="connsiteX0" fmla="*/ 434104 w 3130379"/>
                <a:gd name="connsiteY0" fmla="*/ 0 h 1650354"/>
                <a:gd name="connsiteX1" fmla="*/ 783247 w 3130379"/>
                <a:gd name="connsiteY1" fmla="*/ 1650354 h 1650354"/>
                <a:gd name="connsiteX2" fmla="*/ 3130379 w 3130379"/>
                <a:gd name="connsiteY2" fmla="*/ 1650354 h 1650354"/>
                <a:gd name="connsiteX3" fmla="*/ 434104 w 3130379"/>
                <a:gd name="connsiteY3" fmla="*/ 0 h 1650354"/>
                <a:gd name="connsiteX0" fmla="*/ 461252 w 3157527"/>
                <a:gd name="connsiteY0" fmla="*/ 0 h 1650354"/>
                <a:gd name="connsiteX1" fmla="*/ 810395 w 3157527"/>
                <a:gd name="connsiteY1" fmla="*/ 1650354 h 1650354"/>
                <a:gd name="connsiteX2" fmla="*/ 3157527 w 3157527"/>
                <a:gd name="connsiteY2" fmla="*/ 1650354 h 1650354"/>
                <a:gd name="connsiteX3" fmla="*/ 461252 w 3157527"/>
                <a:gd name="connsiteY3" fmla="*/ 0 h 1650354"/>
                <a:gd name="connsiteX0" fmla="*/ 452114 w 3173789"/>
                <a:gd name="connsiteY0" fmla="*/ 0 h 1542404"/>
                <a:gd name="connsiteX1" fmla="*/ 826657 w 3173789"/>
                <a:gd name="connsiteY1" fmla="*/ 1542404 h 1542404"/>
                <a:gd name="connsiteX2" fmla="*/ 3173789 w 3173789"/>
                <a:gd name="connsiteY2" fmla="*/ 1542404 h 1542404"/>
                <a:gd name="connsiteX3" fmla="*/ 452114 w 3173789"/>
                <a:gd name="connsiteY3" fmla="*/ 0 h 1542404"/>
                <a:gd name="connsiteX0" fmla="*/ 301154 w 3022829"/>
                <a:gd name="connsiteY0" fmla="*/ 0 h 1542404"/>
                <a:gd name="connsiteX1" fmla="*/ 675697 w 3022829"/>
                <a:gd name="connsiteY1" fmla="*/ 1542404 h 1542404"/>
                <a:gd name="connsiteX2" fmla="*/ 3022829 w 3022829"/>
                <a:gd name="connsiteY2" fmla="*/ 1542404 h 1542404"/>
                <a:gd name="connsiteX3" fmla="*/ 301154 w 3022829"/>
                <a:gd name="connsiteY3" fmla="*/ 0 h 1542404"/>
                <a:gd name="connsiteX0" fmla="*/ 293267 w 3014942"/>
                <a:gd name="connsiteY0" fmla="*/ 0 h 1542404"/>
                <a:gd name="connsiteX1" fmla="*/ 667810 w 3014942"/>
                <a:gd name="connsiteY1" fmla="*/ 1542404 h 1542404"/>
                <a:gd name="connsiteX2" fmla="*/ 3014942 w 3014942"/>
                <a:gd name="connsiteY2" fmla="*/ 1542404 h 1542404"/>
                <a:gd name="connsiteX3" fmla="*/ 293267 w 3014942"/>
                <a:gd name="connsiteY3" fmla="*/ 0 h 1542404"/>
                <a:gd name="connsiteX0" fmla="*/ 293267 w 3014942"/>
                <a:gd name="connsiteY0" fmla="*/ 0 h 1542404"/>
                <a:gd name="connsiteX1" fmla="*/ 667810 w 3014942"/>
                <a:gd name="connsiteY1" fmla="*/ 1542404 h 1542404"/>
                <a:gd name="connsiteX2" fmla="*/ 3014942 w 3014942"/>
                <a:gd name="connsiteY2" fmla="*/ 1542404 h 1542404"/>
                <a:gd name="connsiteX3" fmla="*/ 293267 w 3014942"/>
                <a:gd name="connsiteY3" fmla="*/ 0 h 1542404"/>
                <a:gd name="connsiteX0" fmla="*/ 293267 w 3205442"/>
                <a:gd name="connsiteY0" fmla="*/ 0 h 1542404"/>
                <a:gd name="connsiteX1" fmla="*/ 667810 w 3205442"/>
                <a:gd name="connsiteY1" fmla="*/ 1542404 h 1542404"/>
                <a:gd name="connsiteX2" fmla="*/ 3205442 w 3205442"/>
                <a:gd name="connsiteY2" fmla="*/ 1542404 h 1542404"/>
                <a:gd name="connsiteX3" fmla="*/ 293267 w 3205442"/>
                <a:gd name="connsiteY3" fmla="*/ 0 h 1542404"/>
                <a:gd name="connsiteX0" fmla="*/ 293267 w 3205442"/>
                <a:gd name="connsiteY0" fmla="*/ 0 h 1542404"/>
                <a:gd name="connsiteX1" fmla="*/ 667810 w 3205442"/>
                <a:gd name="connsiteY1" fmla="*/ 1542404 h 1542404"/>
                <a:gd name="connsiteX2" fmla="*/ 3205442 w 3205442"/>
                <a:gd name="connsiteY2" fmla="*/ 1542404 h 1542404"/>
                <a:gd name="connsiteX3" fmla="*/ 293267 w 3205442"/>
                <a:gd name="connsiteY3" fmla="*/ 0 h 1542404"/>
              </a:gdLst>
              <a:ahLst/>
              <a:cxnLst>
                <a:cxn ang="0">
                  <a:pos x="connsiteX0" y="connsiteY0"/>
                </a:cxn>
                <a:cxn ang="0">
                  <a:pos x="connsiteX1" y="connsiteY1"/>
                </a:cxn>
                <a:cxn ang="0">
                  <a:pos x="connsiteX2" y="connsiteY2"/>
                </a:cxn>
                <a:cxn ang="0">
                  <a:pos x="connsiteX3" y="connsiteY3"/>
                </a:cxn>
              </a:cxnLst>
              <a:rect l="l" t="t" r="r" b="b"/>
              <a:pathLst>
                <a:path w="3205442" h="1542404">
                  <a:moveTo>
                    <a:pt x="293267" y="0"/>
                  </a:moveTo>
                  <a:cubicBezTo>
                    <a:pt x="-108504" y="505202"/>
                    <a:pt x="-195144" y="846918"/>
                    <a:pt x="667810" y="1542404"/>
                  </a:cubicBezTo>
                  <a:lnTo>
                    <a:pt x="3205442" y="1542404"/>
                  </a:lnTo>
                  <a:cubicBezTo>
                    <a:pt x="1591465" y="1206823"/>
                    <a:pt x="-183091" y="731865"/>
                    <a:pt x="293267" y="0"/>
                  </a:cubicBezTo>
                  <a:close/>
                </a:path>
              </a:pathLst>
            </a:custGeom>
            <a:solidFill>
              <a:schemeClr val="accent1">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Freeform 146"/>
            <p:cNvSpPr>
              <a:spLocks/>
            </p:cNvSpPr>
            <p:nvPr userDrawn="1"/>
          </p:nvSpPr>
          <p:spPr bwMode="black">
            <a:xfrm>
              <a:off x="7185749" y="6735803"/>
              <a:ext cx="320838" cy="181002"/>
            </a:xfrm>
            <a:custGeom>
              <a:avLst/>
              <a:gdLst>
                <a:gd name="connsiteX0" fmla="*/ 208342 w 644867"/>
                <a:gd name="connsiteY0" fmla="*/ 178753 h 363803"/>
                <a:gd name="connsiteX1" fmla="*/ 284403 w 644867"/>
                <a:gd name="connsiteY1" fmla="*/ 224190 h 363803"/>
                <a:gd name="connsiteX2" fmla="*/ 322434 w 644867"/>
                <a:gd name="connsiteY2" fmla="*/ 234103 h 363803"/>
                <a:gd name="connsiteX3" fmla="*/ 359638 w 644867"/>
                <a:gd name="connsiteY3" fmla="*/ 224190 h 363803"/>
                <a:gd name="connsiteX4" fmla="*/ 436526 w 644867"/>
                <a:gd name="connsiteY4" fmla="*/ 178753 h 363803"/>
                <a:gd name="connsiteX5" fmla="*/ 644867 w 644867"/>
                <a:gd name="connsiteY5" fmla="*/ 302671 h 363803"/>
                <a:gd name="connsiteX6" fmla="*/ 644867 w 644867"/>
                <a:gd name="connsiteY6" fmla="*/ 324150 h 363803"/>
                <a:gd name="connsiteX7" fmla="*/ 605183 w 644867"/>
                <a:gd name="connsiteY7" fmla="*/ 363803 h 363803"/>
                <a:gd name="connsiteX8" fmla="*/ 39684 w 644867"/>
                <a:gd name="connsiteY8" fmla="*/ 363803 h 363803"/>
                <a:gd name="connsiteX9" fmla="*/ 0 w 644867"/>
                <a:gd name="connsiteY9" fmla="*/ 324150 h 363803"/>
                <a:gd name="connsiteX10" fmla="*/ 0 w 644867"/>
                <a:gd name="connsiteY10" fmla="*/ 302671 h 363803"/>
                <a:gd name="connsiteX11" fmla="*/ 208342 w 644867"/>
                <a:gd name="connsiteY11" fmla="*/ 178753 h 363803"/>
                <a:gd name="connsiteX12" fmla="*/ 644867 w 644867"/>
                <a:gd name="connsiteY12" fmla="*/ 54570 h 363803"/>
                <a:gd name="connsiteX13" fmla="*/ 644867 w 644867"/>
                <a:gd name="connsiteY13" fmla="*/ 267954 h 363803"/>
                <a:gd name="connsiteX14" fmla="*/ 465368 w 644867"/>
                <a:gd name="connsiteY14" fmla="*/ 161262 h 363803"/>
                <a:gd name="connsiteX15" fmla="*/ 0 w 644867"/>
                <a:gd name="connsiteY15" fmla="*/ 54570 h 363803"/>
                <a:gd name="connsiteX16" fmla="*/ 179149 w 644867"/>
                <a:gd name="connsiteY16" fmla="*/ 161262 h 363803"/>
                <a:gd name="connsiteX17" fmla="*/ 0 w 644867"/>
                <a:gd name="connsiteY17" fmla="*/ 267954 h 363803"/>
                <a:gd name="connsiteX18" fmla="*/ 39412 w 644867"/>
                <a:gd name="connsiteY18" fmla="*/ 0 h 363803"/>
                <a:gd name="connsiteX19" fmla="*/ 605107 w 644867"/>
                <a:gd name="connsiteY19" fmla="*/ 0 h 363803"/>
                <a:gd name="connsiteX20" fmla="*/ 640669 w 644867"/>
                <a:gd name="connsiteY20" fmla="*/ 22331 h 363803"/>
                <a:gd name="connsiteX21" fmla="*/ 343762 w 644867"/>
                <a:gd name="connsiteY21" fmla="*/ 198501 h 363803"/>
                <a:gd name="connsiteX22" fmla="*/ 343762 w 644867"/>
                <a:gd name="connsiteY22" fmla="*/ 199328 h 363803"/>
                <a:gd name="connsiteX23" fmla="*/ 322259 w 644867"/>
                <a:gd name="connsiteY23" fmla="*/ 204290 h 363803"/>
                <a:gd name="connsiteX24" fmla="*/ 299929 w 644867"/>
                <a:gd name="connsiteY24" fmla="*/ 199328 h 363803"/>
                <a:gd name="connsiteX25" fmla="*/ 3849 w 644867"/>
                <a:gd name="connsiteY25" fmla="*/ 22331 h 363803"/>
                <a:gd name="connsiteX26" fmla="*/ 39412 w 644867"/>
                <a:gd name="connsiteY26" fmla="*/ 0 h 363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4867" h="363803">
                  <a:moveTo>
                    <a:pt x="208342" y="178753"/>
                  </a:moveTo>
                  <a:cubicBezTo>
                    <a:pt x="208342" y="178753"/>
                    <a:pt x="208342" y="178753"/>
                    <a:pt x="284403" y="224190"/>
                  </a:cubicBezTo>
                  <a:cubicBezTo>
                    <a:pt x="295151" y="230798"/>
                    <a:pt x="308379" y="234103"/>
                    <a:pt x="322434" y="234103"/>
                  </a:cubicBezTo>
                  <a:cubicBezTo>
                    <a:pt x="336489" y="234103"/>
                    <a:pt x="349717" y="230798"/>
                    <a:pt x="359638" y="224190"/>
                  </a:cubicBezTo>
                  <a:cubicBezTo>
                    <a:pt x="359638" y="224190"/>
                    <a:pt x="359638" y="224190"/>
                    <a:pt x="436526" y="178753"/>
                  </a:cubicBezTo>
                  <a:cubicBezTo>
                    <a:pt x="436526" y="178753"/>
                    <a:pt x="436526" y="178753"/>
                    <a:pt x="644867" y="302671"/>
                  </a:cubicBezTo>
                  <a:cubicBezTo>
                    <a:pt x="644867" y="302671"/>
                    <a:pt x="644867" y="302671"/>
                    <a:pt x="644867" y="324150"/>
                  </a:cubicBezTo>
                  <a:cubicBezTo>
                    <a:pt x="644867" y="346455"/>
                    <a:pt x="626679" y="363803"/>
                    <a:pt x="605183" y="363803"/>
                  </a:cubicBezTo>
                  <a:cubicBezTo>
                    <a:pt x="605183" y="363803"/>
                    <a:pt x="605183" y="363803"/>
                    <a:pt x="39684" y="363803"/>
                  </a:cubicBezTo>
                  <a:cubicBezTo>
                    <a:pt x="17362" y="363803"/>
                    <a:pt x="0" y="346455"/>
                    <a:pt x="0" y="324150"/>
                  </a:cubicBezTo>
                  <a:lnTo>
                    <a:pt x="0" y="302671"/>
                  </a:lnTo>
                  <a:cubicBezTo>
                    <a:pt x="0" y="302671"/>
                    <a:pt x="0" y="302671"/>
                    <a:pt x="208342" y="178753"/>
                  </a:cubicBezTo>
                  <a:close/>
                  <a:moveTo>
                    <a:pt x="644867" y="54570"/>
                  </a:moveTo>
                  <a:lnTo>
                    <a:pt x="644867" y="267954"/>
                  </a:lnTo>
                  <a:lnTo>
                    <a:pt x="465368" y="161262"/>
                  </a:lnTo>
                  <a:close/>
                  <a:moveTo>
                    <a:pt x="0" y="54570"/>
                  </a:moveTo>
                  <a:lnTo>
                    <a:pt x="179149" y="161262"/>
                  </a:lnTo>
                  <a:lnTo>
                    <a:pt x="0" y="267954"/>
                  </a:lnTo>
                  <a:close/>
                  <a:moveTo>
                    <a:pt x="39412" y="0"/>
                  </a:moveTo>
                  <a:cubicBezTo>
                    <a:pt x="39412" y="0"/>
                    <a:pt x="39412" y="0"/>
                    <a:pt x="605107" y="0"/>
                  </a:cubicBezTo>
                  <a:cubicBezTo>
                    <a:pt x="620820" y="0"/>
                    <a:pt x="634053" y="9098"/>
                    <a:pt x="640669" y="22331"/>
                  </a:cubicBezTo>
                  <a:cubicBezTo>
                    <a:pt x="640669" y="22331"/>
                    <a:pt x="640669" y="22331"/>
                    <a:pt x="343762" y="198501"/>
                  </a:cubicBezTo>
                  <a:cubicBezTo>
                    <a:pt x="343762" y="198501"/>
                    <a:pt x="343762" y="198501"/>
                    <a:pt x="343762" y="199328"/>
                  </a:cubicBezTo>
                  <a:cubicBezTo>
                    <a:pt x="337973" y="202636"/>
                    <a:pt x="330530" y="204290"/>
                    <a:pt x="322259" y="204290"/>
                  </a:cubicBezTo>
                  <a:cubicBezTo>
                    <a:pt x="313989" y="204290"/>
                    <a:pt x="305718" y="202636"/>
                    <a:pt x="299929" y="199328"/>
                  </a:cubicBezTo>
                  <a:cubicBezTo>
                    <a:pt x="299929" y="199328"/>
                    <a:pt x="299929" y="199328"/>
                    <a:pt x="3849" y="22331"/>
                  </a:cubicBezTo>
                  <a:cubicBezTo>
                    <a:pt x="9639" y="9098"/>
                    <a:pt x="23698" y="0"/>
                    <a:pt x="39412"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noAutofit/>
            </a:bodyPr>
            <a:lstStyle/>
            <a:p>
              <a:pPr defTabSz="726007"/>
              <a:endParaRPr lang="en-US" sz="1765" spc="-120">
                <a:solidFill>
                  <a:prstClr val="black">
                    <a:lumMod val="50000"/>
                  </a:prstClr>
                </a:solidFill>
                <a:latin typeface="Segoe UI Light" panose="020B0502040204020203" pitchFamily="34" charset="0"/>
                <a:sym typeface="Segoe UI Light" panose="020B0502040204020203" pitchFamily="34" charset="0"/>
              </a:endParaRPr>
            </a:p>
          </p:txBody>
        </p:sp>
        <p:sp>
          <p:nvSpPr>
            <p:cNvPr id="148" name="Rectangle 5"/>
            <p:cNvSpPr>
              <a:spLocks noChangeArrowheads="1"/>
            </p:cNvSpPr>
            <p:nvPr userDrawn="1"/>
          </p:nvSpPr>
          <p:spPr bwMode="auto">
            <a:xfrm flipH="1">
              <a:off x="3418306" y="5868865"/>
              <a:ext cx="550363" cy="53060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49" name="Rectangle 6"/>
            <p:cNvSpPr>
              <a:spLocks noChangeArrowheads="1"/>
            </p:cNvSpPr>
            <p:nvPr userDrawn="1"/>
          </p:nvSpPr>
          <p:spPr bwMode="auto">
            <a:xfrm flipH="1">
              <a:off x="3373345" y="5832524"/>
              <a:ext cx="640080" cy="36576"/>
            </a:xfrm>
            <a:prstGeom prst="rect">
              <a:avLst/>
            </a:prstGeom>
            <a:solidFill>
              <a:schemeClr val="bg1">
                <a:lumMod val="65000"/>
              </a:schemeClr>
            </a:solidFill>
            <a:ln>
              <a:noFill/>
            </a:ln>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50" name="Rectangle 149"/>
            <p:cNvSpPr/>
            <p:nvPr userDrawn="1"/>
          </p:nvSpPr>
          <p:spPr bwMode="auto">
            <a:xfrm>
              <a:off x="3462615" y="622891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1" name="Freeform 11"/>
            <p:cNvSpPr>
              <a:spLocks/>
            </p:cNvSpPr>
            <p:nvPr userDrawn="1"/>
          </p:nvSpPr>
          <p:spPr bwMode="auto">
            <a:xfrm flipH="1">
              <a:off x="4392841" y="6489852"/>
              <a:ext cx="3970620" cy="510252"/>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52" name="Freeform 18"/>
            <p:cNvSpPr>
              <a:spLocks/>
            </p:cNvSpPr>
            <p:nvPr userDrawn="1"/>
          </p:nvSpPr>
          <p:spPr bwMode="auto">
            <a:xfrm flipH="1">
              <a:off x="984" y="6027174"/>
              <a:ext cx="6091253" cy="972930"/>
            </a:xfrm>
            <a:custGeom>
              <a:avLst/>
              <a:gdLst>
                <a:gd name="T0" fmla="*/ 0 w 1014"/>
                <a:gd name="T1" fmla="*/ 296 h 296"/>
                <a:gd name="T2" fmla="*/ 0 w 1014"/>
                <a:gd name="T3" fmla="*/ 296 h 296"/>
                <a:gd name="T4" fmla="*/ 1014 w 1014"/>
                <a:gd name="T5" fmla="*/ 296 h 296"/>
                <a:gd name="T6" fmla="*/ 1014 w 1014"/>
                <a:gd name="T7" fmla="*/ 238 h 296"/>
                <a:gd name="T8" fmla="*/ 0 w 1014"/>
                <a:gd name="T9" fmla="*/ 296 h 296"/>
              </a:gdLst>
              <a:ahLst/>
              <a:cxnLst>
                <a:cxn ang="0">
                  <a:pos x="T0" y="T1"/>
                </a:cxn>
                <a:cxn ang="0">
                  <a:pos x="T2" y="T3"/>
                </a:cxn>
                <a:cxn ang="0">
                  <a:pos x="T4" y="T5"/>
                </a:cxn>
                <a:cxn ang="0">
                  <a:pos x="T6" y="T7"/>
                </a:cxn>
                <a:cxn ang="0">
                  <a:pos x="T8" y="T9"/>
                </a:cxn>
              </a:cxnLst>
              <a:rect l="0" t="0" r="r" b="b"/>
              <a:pathLst>
                <a:path w="1014" h="296">
                  <a:moveTo>
                    <a:pt x="0" y="296"/>
                  </a:moveTo>
                  <a:cubicBezTo>
                    <a:pt x="0" y="296"/>
                    <a:pt x="0" y="296"/>
                    <a:pt x="0" y="296"/>
                  </a:cubicBezTo>
                  <a:cubicBezTo>
                    <a:pt x="1014" y="296"/>
                    <a:pt x="1014" y="296"/>
                    <a:pt x="1014" y="296"/>
                  </a:cubicBezTo>
                  <a:cubicBezTo>
                    <a:pt x="1014" y="238"/>
                    <a:pt x="1014" y="238"/>
                    <a:pt x="1014" y="238"/>
                  </a:cubicBezTo>
                  <a:cubicBezTo>
                    <a:pt x="714" y="0"/>
                    <a:pt x="277" y="19"/>
                    <a:pt x="0" y="29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53" name="Freeform 29"/>
            <p:cNvSpPr>
              <a:spLocks/>
            </p:cNvSpPr>
            <p:nvPr userDrawn="1"/>
          </p:nvSpPr>
          <p:spPr bwMode="auto">
            <a:xfrm flipH="1">
              <a:off x="432647" y="6571940"/>
              <a:ext cx="3340253" cy="428164"/>
            </a:xfrm>
            <a:custGeom>
              <a:avLst/>
              <a:gdLst>
                <a:gd name="T0" fmla="*/ 344 w 556"/>
                <a:gd name="T1" fmla="*/ 21 h 130"/>
                <a:gd name="T2" fmla="*/ 344 w 556"/>
                <a:gd name="T3" fmla="*/ 21 h 130"/>
                <a:gd name="T4" fmla="*/ 0 w 556"/>
                <a:gd name="T5" fmla="*/ 130 h 130"/>
                <a:gd name="T6" fmla="*/ 197 w 556"/>
                <a:gd name="T7" fmla="*/ 130 h 130"/>
                <a:gd name="T8" fmla="*/ 556 w 556"/>
                <a:gd name="T9" fmla="*/ 130 h 130"/>
                <a:gd name="T10" fmla="*/ 344 w 556"/>
                <a:gd name="T11" fmla="*/ 21 h 130"/>
              </a:gdLst>
              <a:ahLst/>
              <a:cxnLst>
                <a:cxn ang="0">
                  <a:pos x="T0" y="T1"/>
                </a:cxn>
                <a:cxn ang="0">
                  <a:pos x="T2" y="T3"/>
                </a:cxn>
                <a:cxn ang="0">
                  <a:pos x="T4" y="T5"/>
                </a:cxn>
                <a:cxn ang="0">
                  <a:pos x="T6" y="T7"/>
                </a:cxn>
                <a:cxn ang="0">
                  <a:pos x="T8" y="T9"/>
                </a:cxn>
                <a:cxn ang="0">
                  <a:pos x="T10" y="T11"/>
                </a:cxn>
              </a:cxnLst>
              <a:rect l="0" t="0" r="r" b="b"/>
              <a:pathLst>
                <a:path w="556" h="130">
                  <a:moveTo>
                    <a:pt x="344" y="21"/>
                  </a:moveTo>
                  <a:cubicBezTo>
                    <a:pt x="344" y="21"/>
                    <a:pt x="344" y="21"/>
                    <a:pt x="344" y="21"/>
                  </a:cubicBezTo>
                  <a:cubicBezTo>
                    <a:pt x="223" y="0"/>
                    <a:pt x="94" y="37"/>
                    <a:pt x="0" y="130"/>
                  </a:cubicBezTo>
                  <a:cubicBezTo>
                    <a:pt x="197" y="130"/>
                    <a:pt x="197" y="130"/>
                    <a:pt x="197" y="130"/>
                  </a:cubicBezTo>
                  <a:cubicBezTo>
                    <a:pt x="556" y="130"/>
                    <a:pt x="556" y="130"/>
                    <a:pt x="556" y="130"/>
                  </a:cubicBezTo>
                  <a:cubicBezTo>
                    <a:pt x="496" y="70"/>
                    <a:pt x="422" y="34"/>
                    <a:pt x="344" y="21"/>
                  </a:cubicBez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54" name="AutoShape 3"/>
            <p:cNvSpPr>
              <a:spLocks noChangeAspect="1" noChangeArrowheads="1" noTextEdit="1"/>
            </p:cNvSpPr>
            <p:nvPr userDrawn="1"/>
          </p:nvSpPr>
          <p:spPr bwMode="auto">
            <a:xfrm flipH="1">
              <a:off x="984" y="5602741"/>
              <a:ext cx="4298430" cy="140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nvGrpSpPr>
            <p:cNvPr id="155" name="Group 154"/>
            <p:cNvGrpSpPr/>
            <p:nvPr userDrawn="1"/>
          </p:nvGrpSpPr>
          <p:grpSpPr>
            <a:xfrm flipH="1">
              <a:off x="2682360" y="5937788"/>
              <a:ext cx="188333" cy="365034"/>
              <a:chOff x="6229350" y="5232400"/>
              <a:chExt cx="539750" cy="1046162"/>
            </a:xfrm>
          </p:grpSpPr>
          <p:sp>
            <p:nvSpPr>
              <p:cNvPr id="196"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7"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8"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grpSp>
          <p:nvGrpSpPr>
            <p:cNvPr id="156" name="Group 155"/>
            <p:cNvGrpSpPr/>
            <p:nvPr userDrawn="1"/>
          </p:nvGrpSpPr>
          <p:grpSpPr>
            <a:xfrm flipH="1">
              <a:off x="4803495" y="6266909"/>
              <a:ext cx="188333" cy="365034"/>
              <a:chOff x="6229350" y="5232400"/>
              <a:chExt cx="539750" cy="1046162"/>
            </a:xfrm>
          </p:grpSpPr>
          <p:sp>
            <p:nvSpPr>
              <p:cNvPr id="193"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4"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5"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sp>
          <p:nvSpPr>
            <p:cNvPr id="157" name="Freeform 17"/>
            <p:cNvSpPr>
              <a:spLocks/>
            </p:cNvSpPr>
            <p:nvPr userDrawn="1"/>
          </p:nvSpPr>
          <p:spPr bwMode="auto">
            <a:xfrm flipH="1">
              <a:off x="-5288" y="6414294"/>
              <a:ext cx="1445870" cy="585810"/>
            </a:xfrm>
            <a:custGeom>
              <a:avLst/>
              <a:gdLst>
                <a:gd name="T0" fmla="*/ 0 w 442"/>
                <a:gd name="T1" fmla="*/ 178 h 178"/>
                <a:gd name="T2" fmla="*/ 0 w 442"/>
                <a:gd name="T3" fmla="*/ 178 h 178"/>
                <a:gd name="T4" fmla="*/ 290 w 442"/>
                <a:gd name="T5" fmla="*/ 178 h 178"/>
                <a:gd name="T6" fmla="*/ 442 w 442"/>
                <a:gd name="T7" fmla="*/ 178 h 178"/>
                <a:gd name="T8" fmla="*/ 442 w 442"/>
                <a:gd name="T9" fmla="*/ 9 h 178"/>
                <a:gd name="T10" fmla="*/ 0 w 442"/>
                <a:gd name="T11" fmla="*/ 178 h 178"/>
              </a:gdLst>
              <a:ahLst/>
              <a:cxnLst>
                <a:cxn ang="0">
                  <a:pos x="T0" y="T1"/>
                </a:cxn>
                <a:cxn ang="0">
                  <a:pos x="T2" y="T3"/>
                </a:cxn>
                <a:cxn ang="0">
                  <a:pos x="T4" y="T5"/>
                </a:cxn>
                <a:cxn ang="0">
                  <a:pos x="T6" y="T7"/>
                </a:cxn>
                <a:cxn ang="0">
                  <a:pos x="T8" y="T9"/>
                </a:cxn>
                <a:cxn ang="0">
                  <a:pos x="T10" y="T11"/>
                </a:cxn>
              </a:cxnLst>
              <a:rect l="0" t="0" r="r" b="b"/>
              <a:pathLst>
                <a:path w="442" h="178">
                  <a:moveTo>
                    <a:pt x="0" y="178"/>
                  </a:moveTo>
                  <a:cubicBezTo>
                    <a:pt x="0" y="178"/>
                    <a:pt x="0" y="178"/>
                    <a:pt x="0" y="178"/>
                  </a:cubicBezTo>
                  <a:cubicBezTo>
                    <a:pt x="290" y="178"/>
                    <a:pt x="290" y="178"/>
                    <a:pt x="290" y="178"/>
                  </a:cubicBezTo>
                  <a:cubicBezTo>
                    <a:pt x="442" y="178"/>
                    <a:pt x="442" y="178"/>
                    <a:pt x="442" y="178"/>
                  </a:cubicBezTo>
                  <a:cubicBezTo>
                    <a:pt x="442" y="9"/>
                    <a:pt x="442" y="9"/>
                    <a:pt x="442" y="9"/>
                  </a:cubicBezTo>
                  <a:cubicBezTo>
                    <a:pt x="283" y="0"/>
                    <a:pt x="121" y="57"/>
                    <a:pt x="0" y="17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nvGrpSpPr>
            <p:cNvPr id="158" name="Group 157"/>
            <p:cNvGrpSpPr/>
            <p:nvPr userDrawn="1"/>
          </p:nvGrpSpPr>
          <p:grpSpPr>
            <a:xfrm flipH="1">
              <a:off x="4579666" y="6201145"/>
              <a:ext cx="188333" cy="365034"/>
              <a:chOff x="6229350" y="5232400"/>
              <a:chExt cx="539750" cy="1046162"/>
            </a:xfrm>
          </p:grpSpPr>
          <p:sp>
            <p:nvSpPr>
              <p:cNvPr id="190" name="Freeform 14"/>
              <p:cNvSpPr>
                <a:spLocks/>
              </p:cNvSpPr>
              <p:nvPr/>
            </p:nvSpPr>
            <p:spPr bwMode="auto">
              <a:xfrm>
                <a:off x="6446838" y="5870575"/>
                <a:ext cx="111125" cy="407987"/>
              </a:xfrm>
              <a:custGeom>
                <a:avLst/>
                <a:gdLst>
                  <a:gd name="T0" fmla="*/ 70 w 70"/>
                  <a:gd name="T1" fmla="*/ 257 h 257"/>
                  <a:gd name="T2" fmla="*/ 70 w 70"/>
                  <a:gd name="T3" fmla="*/ 257 h 257"/>
                  <a:gd name="T4" fmla="*/ 0 w 70"/>
                  <a:gd name="T5" fmla="*/ 257 h 257"/>
                  <a:gd name="T6" fmla="*/ 0 w 70"/>
                  <a:gd name="T7" fmla="*/ 0 h 257"/>
                  <a:gd name="T8" fmla="*/ 70 w 70"/>
                  <a:gd name="T9" fmla="*/ 0 h 257"/>
                  <a:gd name="T10" fmla="*/ 70 w 70"/>
                  <a:gd name="T11" fmla="*/ 257 h 257"/>
                  <a:gd name="T12" fmla="*/ 70 w 70"/>
                  <a:gd name="T13" fmla="*/ 257 h 257"/>
                  <a:gd name="T14" fmla="*/ 70 w 7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57">
                    <a:moveTo>
                      <a:pt x="70" y="257"/>
                    </a:moveTo>
                    <a:lnTo>
                      <a:pt x="70" y="257"/>
                    </a:lnTo>
                    <a:lnTo>
                      <a:pt x="0" y="257"/>
                    </a:lnTo>
                    <a:lnTo>
                      <a:pt x="0" y="0"/>
                    </a:lnTo>
                    <a:lnTo>
                      <a:pt x="70" y="0"/>
                    </a:lnTo>
                    <a:lnTo>
                      <a:pt x="70" y="257"/>
                    </a:lnTo>
                    <a:lnTo>
                      <a:pt x="70" y="257"/>
                    </a:lnTo>
                    <a:lnTo>
                      <a:pt x="70" y="25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1" name="Freeform 15"/>
              <p:cNvSpPr>
                <a:spLocks/>
              </p:cNvSpPr>
              <p:nvPr/>
            </p:nvSpPr>
            <p:spPr bwMode="auto">
              <a:xfrm>
                <a:off x="6229350" y="5511800"/>
                <a:ext cx="539750" cy="542925"/>
              </a:xfrm>
              <a:custGeom>
                <a:avLst/>
                <a:gdLst>
                  <a:gd name="T0" fmla="*/ 97 w 97"/>
                  <a:gd name="T1" fmla="*/ 48 h 97"/>
                  <a:gd name="T2" fmla="*/ 97 w 97"/>
                  <a:gd name="T3" fmla="*/ 48 h 97"/>
                  <a:gd name="T4" fmla="*/ 48 w 97"/>
                  <a:gd name="T5" fmla="*/ 97 h 97"/>
                  <a:gd name="T6" fmla="*/ 0 w 97"/>
                  <a:gd name="T7" fmla="*/ 48 h 97"/>
                  <a:gd name="T8" fmla="*/ 48 w 97"/>
                  <a:gd name="T9" fmla="*/ 0 h 97"/>
                  <a:gd name="T10" fmla="*/ 97 w 97"/>
                  <a:gd name="T11" fmla="*/ 48 h 97"/>
                </a:gdLst>
                <a:ahLst/>
                <a:cxnLst>
                  <a:cxn ang="0">
                    <a:pos x="T0" y="T1"/>
                  </a:cxn>
                  <a:cxn ang="0">
                    <a:pos x="T2" y="T3"/>
                  </a:cxn>
                  <a:cxn ang="0">
                    <a:pos x="T4" y="T5"/>
                  </a:cxn>
                  <a:cxn ang="0">
                    <a:pos x="T6" y="T7"/>
                  </a:cxn>
                  <a:cxn ang="0">
                    <a:pos x="T8" y="T9"/>
                  </a:cxn>
                  <a:cxn ang="0">
                    <a:pos x="T10" y="T11"/>
                  </a:cxn>
                </a:cxnLst>
                <a:rect l="0" t="0" r="r" b="b"/>
                <a:pathLst>
                  <a:path w="97" h="97">
                    <a:moveTo>
                      <a:pt x="97" y="48"/>
                    </a:moveTo>
                    <a:cubicBezTo>
                      <a:pt x="97" y="48"/>
                      <a:pt x="97" y="48"/>
                      <a:pt x="97" y="48"/>
                    </a:cubicBezTo>
                    <a:cubicBezTo>
                      <a:pt x="97" y="75"/>
                      <a:pt x="75" y="97"/>
                      <a:pt x="48" y="97"/>
                    </a:cubicBezTo>
                    <a:cubicBezTo>
                      <a:pt x="22" y="97"/>
                      <a:pt x="0" y="75"/>
                      <a:pt x="0" y="48"/>
                    </a:cubicBezTo>
                    <a:cubicBezTo>
                      <a:pt x="0" y="22"/>
                      <a:pt x="22" y="0"/>
                      <a:pt x="48" y="0"/>
                    </a:cubicBezTo>
                    <a:cubicBezTo>
                      <a:pt x="75" y="0"/>
                      <a:pt x="97" y="22"/>
                      <a:pt x="97" y="48"/>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92" name="Freeform 16"/>
              <p:cNvSpPr>
                <a:spLocks/>
              </p:cNvSpPr>
              <p:nvPr/>
            </p:nvSpPr>
            <p:spPr bwMode="auto">
              <a:xfrm>
                <a:off x="6300788" y="5232400"/>
                <a:ext cx="395288" cy="396875"/>
              </a:xfrm>
              <a:custGeom>
                <a:avLst/>
                <a:gdLst>
                  <a:gd name="T0" fmla="*/ 71 w 71"/>
                  <a:gd name="T1" fmla="*/ 35 h 71"/>
                  <a:gd name="T2" fmla="*/ 71 w 71"/>
                  <a:gd name="T3" fmla="*/ 35 h 71"/>
                  <a:gd name="T4" fmla="*/ 35 w 71"/>
                  <a:gd name="T5" fmla="*/ 71 h 71"/>
                  <a:gd name="T6" fmla="*/ 0 w 71"/>
                  <a:gd name="T7" fmla="*/ 35 h 71"/>
                  <a:gd name="T8" fmla="*/ 35 w 71"/>
                  <a:gd name="T9" fmla="*/ 0 h 71"/>
                  <a:gd name="T10" fmla="*/ 71 w 71"/>
                  <a:gd name="T11" fmla="*/ 35 h 71"/>
                </a:gdLst>
                <a:ahLst/>
                <a:cxnLst>
                  <a:cxn ang="0">
                    <a:pos x="T0" y="T1"/>
                  </a:cxn>
                  <a:cxn ang="0">
                    <a:pos x="T2" y="T3"/>
                  </a:cxn>
                  <a:cxn ang="0">
                    <a:pos x="T4" y="T5"/>
                  </a:cxn>
                  <a:cxn ang="0">
                    <a:pos x="T6" y="T7"/>
                  </a:cxn>
                  <a:cxn ang="0">
                    <a:pos x="T8" y="T9"/>
                  </a:cxn>
                  <a:cxn ang="0">
                    <a:pos x="T10" y="T11"/>
                  </a:cxn>
                </a:cxnLst>
                <a:rect l="0" t="0" r="r" b="b"/>
                <a:pathLst>
                  <a:path w="71" h="71">
                    <a:moveTo>
                      <a:pt x="71" y="35"/>
                    </a:moveTo>
                    <a:cubicBezTo>
                      <a:pt x="71" y="35"/>
                      <a:pt x="71" y="35"/>
                      <a:pt x="71" y="35"/>
                    </a:cubicBezTo>
                    <a:cubicBezTo>
                      <a:pt x="71" y="55"/>
                      <a:pt x="55" y="71"/>
                      <a:pt x="35" y="71"/>
                    </a:cubicBezTo>
                    <a:cubicBezTo>
                      <a:pt x="16" y="71"/>
                      <a:pt x="0" y="55"/>
                      <a:pt x="0" y="35"/>
                    </a:cubicBezTo>
                    <a:cubicBezTo>
                      <a:pt x="0" y="16"/>
                      <a:pt x="16" y="0"/>
                      <a:pt x="35" y="0"/>
                    </a:cubicBezTo>
                    <a:cubicBezTo>
                      <a:pt x="55" y="0"/>
                      <a:pt x="71" y="16"/>
                      <a:pt x="71" y="35"/>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sp>
          <p:nvSpPr>
            <p:cNvPr id="159" name="Rectangle 21"/>
            <p:cNvSpPr/>
            <p:nvPr userDrawn="1"/>
          </p:nvSpPr>
          <p:spPr>
            <a:xfrm>
              <a:off x="8820420" y="2627475"/>
              <a:ext cx="2364654" cy="3460972"/>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13844"/>
              <a:endParaRPr lang="en-US" sz="1176" dirty="0" err="1">
                <a:solidFill>
                  <a:srgbClr val="FFFFFF"/>
                </a:solidFill>
              </a:endParaRPr>
            </a:p>
          </p:txBody>
        </p:sp>
        <p:grpSp>
          <p:nvGrpSpPr>
            <p:cNvPr id="160" name="Group 159"/>
            <p:cNvGrpSpPr/>
            <p:nvPr userDrawn="1"/>
          </p:nvGrpSpPr>
          <p:grpSpPr>
            <a:xfrm>
              <a:off x="10950846" y="5461051"/>
              <a:ext cx="485776" cy="941389"/>
              <a:chOff x="7916877" y="4953006"/>
              <a:chExt cx="485776" cy="941389"/>
            </a:xfrm>
          </p:grpSpPr>
          <p:sp>
            <p:nvSpPr>
              <p:cNvPr id="187" name="Rectangle 43"/>
              <p:cNvSpPr>
                <a:spLocks noChangeArrowheads="1"/>
              </p:cNvSpPr>
              <p:nvPr userDrawn="1"/>
            </p:nvSpPr>
            <p:spPr bwMode="auto">
              <a:xfrm>
                <a:off x="8113727"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88" name="Oval 44"/>
              <p:cNvSpPr>
                <a:spLocks noChangeArrowheads="1"/>
              </p:cNvSpPr>
              <p:nvPr userDrawn="1"/>
            </p:nvSpPr>
            <p:spPr bwMode="auto">
              <a:xfrm>
                <a:off x="7916877"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89" name="Oval 45"/>
              <p:cNvSpPr>
                <a:spLocks noChangeArrowheads="1"/>
              </p:cNvSpPr>
              <p:nvPr userDrawn="1"/>
            </p:nvSpPr>
            <p:spPr bwMode="auto">
              <a:xfrm>
                <a:off x="7977202"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sp>
          <p:nvSpPr>
            <p:cNvPr id="161" name="Freeform 11"/>
            <p:cNvSpPr>
              <a:spLocks/>
            </p:cNvSpPr>
            <p:nvPr userDrawn="1"/>
          </p:nvSpPr>
          <p:spPr bwMode="auto">
            <a:xfrm>
              <a:off x="7485076" y="3132141"/>
              <a:ext cx="2763842" cy="2762254"/>
            </a:xfrm>
            <a:custGeom>
              <a:avLst/>
              <a:gdLst>
                <a:gd name="T0" fmla="*/ 698 w 1741"/>
                <a:gd name="T1" fmla="*/ 182 h 1740"/>
                <a:gd name="T2" fmla="*/ 698 w 1741"/>
                <a:gd name="T3" fmla="*/ 0 h 1740"/>
                <a:gd name="T4" fmla="*/ 248 w 1741"/>
                <a:gd name="T5" fmla="*/ 0 h 1740"/>
                <a:gd name="T6" fmla="*/ 248 w 1741"/>
                <a:gd name="T7" fmla="*/ 182 h 1740"/>
                <a:gd name="T8" fmla="*/ 0 w 1741"/>
                <a:gd name="T9" fmla="*/ 182 h 1740"/>
                <a:gd name="T10" fmla="*/ 0 w 1741"/>
                <a:gd name="T11" fmla="*/ 228 h 1740"/>
                <a:gd name="T12" fmla="*/ 58 w 1741"/>
                <a:gd name="T13" fmla="*/ 228 h 1740"/>
                <a:gd name="T14" fmla="*/ 58 w 1741"/>
                <a:gd name="T15" fmla="*/ 1740 h 1740"/>
                <a:gd name="T16" fmla="*/ 1682 w 1741"/>
                <a:gd name="T17" fmla="*/ 1740 h 1740"/>
                <a:gd name="T18" fmla="*/ 1682 w 1741"/>
                <a:gd name="T19" fmla="*/ 228 h 1740"/>
                <a:gd name="T20" fmla="*/ 1741 w 1741"/>
                <a:gd name="T21" fmla="*/ 228 h 1740"/>
                <a:gd name="T22" fmla="*/ 1741 w 1741"/>
                <a:gd name="T23" fmla="*/ 182 h 1740"/>
                <a:gd name="T24" fmla="*/ 698 w 1741"/>
                <a:gd name="T25" fmla="*/ 182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740">
                  <a:moveTo>
                    <a:pt x="698" y="182"/>
                  </a:moveTo>
                  <a:lnTo>
                    <a:pt x="698" y="0"/>
                  </a:lnTo>
                  <a:lnTo>
                    <a:pt x="248" y="0"/>
                  </a:lnTo>
                  <a:lnTo>
                    <a:pt x="248" y="182"/>
                  </a:lnTo>
                  <a:lnTo>
                    <a:pt x="0" y="182"/>
                  </a:lnTo>
                  <a:lnTo>
                    <a:pt x="0" y="228"/>
                  </a:lnTo>
                  <a:lnTo>
                    <a:pt x="58" y="228"/>
                  </a:lnTo>
                  <a:lnTo>
                    <a:pt x="58" y="1740"/>
                  </a:lnTo>
                  <a:lnTo>
                    <a:pt x="1682" y="1740"/>
                  </a:lnTo>
                  <a:lnTo>
                    <a:pt x="1682" y="228"/>
                  </a:lnTo>
                  <a:lnTo>
                    <a:pt x="1741" y="228"/>
                  </a:lnTo>
                  <a:lnTo>
                    <a:pt x="1741" y="182"/>
                  </a:lnTo>
                  <a:lnTo>
                    <a:pt x="69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2" name="Freeform 12"/>
            <p:cNvSpPr>
              <a:spLocks/>
            </p:cNvSpPr>
            <p:nvPr userDrawn="1"/>
          </p:nvSpPr>
          <p:spPr bwMode="auto">
            <a:xfrm>
              <a:off x="8088327" y="577849"/>
              <a:ext cx="1508128" cy="990602"/>
            </a:xfrm>
            <a:custGeom>
              <a:avLst/>
              <a:gdLst>
                <a:gd name="T0" fmla="*/ 206 w 245"/>
                <a:gd name="T1" fmla="*/ 71 h 161"/>
                <a:gd name="T2" fmla="*/ 206 w 245"/>
                <a:gd name="T3" fmla="*/ 67 h 161"/>
                <a:gd name="T4" fmla="*/ 139 w 245"/>
                <a:gd name="T5" fmla="*/ 0 h 161"/>
                <a:gd name="T6" fmla="*/ 82 w 245"/>
                <a:gd name="T7" fmla="*/ 30 h 161"/>
                <a:gd name="T8" fmla="*/ 64 w 245"/>
                <a:gd name="T9" fmla="*/ 25 h 161"/>
                <a:gd name="T10" fmla="*/ 42 w 245"/>
                <a:gd name="T11" fmla="*/ 32 h 161"/>
                <a:gd name="T12" fmla="*/ 25 w 245"/>
                <a:gd name="T13" fmla="*/ 63 h 161"/>
                <a:gd name="T14" fmla="*/ 0 w 245"/>
                <a:gd name="T15" fmla="*/ 108 h 161"/>
                <a:gd name="T16" fmla="*/ 48 w 245"/>
                <a:gd name="T17" fmla="*/ 161 h 161"/>
                <a:gd name="T18" fmla="*/ 54 w 245"/>
                <a:gd name="T19" fmla="*/ 161 h 161"/>
                <a:gd name="T20" fmla="*/ 59 w 245"/>
                <a:gd name="T21" fmla="*/ 161 h 161"/>
                <a:gd name="T22" fmla="*/ 169 w 245"/>
                <a:gd name="T23" fmla="*/ 161 h 161"/>
                <a:gd name="T24" fmla="*/ 171 w 245"/>
                <a:gd name="T25" fmla="*/ 161 h 161"/>
                <a:gd name="T26" fmla="*/ 174 w 245"/>
                <a:gd name="T27" fmla="*/ 161 h 161"/>
                <a:gd name="T28" fmla="*/ 182 w 245"/>
                <a:gd name="T29" fmla="*/ 161 h 161"/>
                <a:gd name="T30" fmla="*/ 200 w 245"/>
                <a:gd name="T31" fmla="*/ 161 h 161"/>
                <a:gd name="T32" fmla="*/ 245 w 245"/>
                <a:gd name="T33" fmla="*/ 116 h 161"/>
                <a:gd name="T34" fmla="*/ 206 w 245"/>
                <a:gd name="T35"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61">
                  <a:moveTo>
                    <a:pt x="206" y="71"/>
                  </a:moveTo>
                  <a:cubicBezTo>
                    <a:pt x="206" y="70"/>
                    <a:pt x="206" y="68"/>
                    <a:pt x="206" y="67"/>
                  </a:cubicBezTo>
                  <a:cubicBezTo>
                    <a:pt x="206" y="30"/>
                    <a:pt x="176" y="0"/>
                    <a:pt x="139" y="0"/>
                  </a:cubicBezTo>
                  <a:cubicBezTo>
                    <a:pt x="115" y="0"/>
                    <a:pt x="95" y="12"/>
                    <a:pt x="82" y="30"/>
                  </a:cubicBezTo>
                  <a:cubicBezTo>
                    <a:pt x="77" y="27"/>
                    <a:pt x="71" y="25"/>
                    <a:pt x="64" y="25"/>
                  </a:cubicBezTo>
                  <a:cubicBezTo>
                    <a:pt x="56" y="25"/>
                    <a:pt x="48" y="28"/>
                    <a:pt x="42" y="32"/>
                  </a:cubicBezTo>
                  <a:cubicBezTo>
                    <a:pt x="32" y="39"/>
                    <a:pt x="25" y="50"/>
                    <a:pt x="25" y="63"/>
                  </a:cubicBezTo>
                  <a:cubicBezTo>
                    <a:pt x="10" y="73"/>
                    <a:pt x="0" y="90"/>
                    <a:pt x="0" y="108"/>
                  </a:cubicBezTo>
                  <a:cubicBezTo>
                    <a:pt x="0" y="135"/>
                    <a:pt x="21" y="158"/>
                    <a:pt x="48" y="161"/>
                  </a:cubicBezTo>
                  <a:cubicBezTo>
                    <a:pt x="50" y="161"/>
                    <a:pt x="52" y="161"/>
                    <a:pt x="54" y="161"/>
                  </a:cubicBezTo>
                  <a:cubicBezTo>
                    <a:pt x="55" y="161"/>
                    <a:pt x="57" y="161"/>
                    <a:pt x="59" y="161"/>
                  </a:cubicBezTo>
                  <a:cubicBezTo>
                    <a:pt x="84" y="161"/>
                    <a:pt x="142" y="161"/>
                    <a:pt x="169" y="161"/>
                  </a:cubicBezTo>
                  <a:cubicBezTo>
                    <a:pt x="170" y="161"/>
                    <a:pt x="171" y="161"/>
                    <a:pt x="171" y="161"/>
                  </a:cubicBezTo>
                  <a:cubicBezTo>
                    <a:pt x="174" y="161"/>
                    <a:pt x="174" y="161"/>
                    <a:pt x="174" y="161"/>
                  </a:cubicBezTo>
                  <a:cubicBezTo>
                    <a:pt x="176" y="161"/>
                    <a:pt x="180" y="161"/>
                    <a:pt x="182" y="161"/>
                  </a:cubicBezTo>
                  <a:cubicBezTo>
                    <a:pt x="200" y="161"/>
                    <a:pt x="200" y="161"/>
                    <a:pt x="200" y="161"/>
                  </a:cubicBezTo>
                  <a:cubicBezTo>
                    <a:pt x="225" y="161"/>
                    <a:pt x="245" y="140"/>
                    <a:pt x="245" y="116"/>
                  </a:cubicBezTo>
                  <a:cubicBezTo>
                    <a:pt x="245" y="93"/>
                    <a:pt x="228" y="74"/>
                    <a:pt x="206" y="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3" name="Freeform 13"/>
            <p:cNvSpPr>
              <a:spLocks/>
            </p:cNvSpPr>
            <p:nvPr userDrawn="1"/>
          </p:nvSpPr>
          <p:spPr bwMode="auto">
            <a:xfrm>
              <a:off x="9793305" y="1322388"/>
              <a:ext cx="541338" cy="350838"/>
            </a:xfrm>
            <a:custGeom>
              <a:avLst/>
              <a:gdLst>
                <a:gd name="T0" fmla="*/ 74 w 88"/>
                <a:gd name="T1" fmla="*/ 25 h 57"/>
                <a:gd name="T2" fmla="*/ 74 w 88"/>
                <a:gd name="T3" fmla="*/ 24 h 57"/>
                <a:gd name="T4" fmla="*/ 50 w 88"/>
                <a:gd name="T5" fmla="*/ 0 h 57"/>
                <a:gd name="T6" fmla="*/ 29 w 88"/>
                <a:gd name="T7" fmla="*/ 10 h 57"/>
                <a:gd name="T8" fmla="*/ 23 w 88"/>
                <a:gd name="T9" fmla="*/ 9 h 57"/>
                <a:gd name="T10" fmla="*/ 15 w 88"/>
                <a:gd name="T11" fmla="*/ 11 h 57"/>
                <a:gd name="T12" fmla="*/ 9 w 88"/>
                <a:gd name="T13" fmla="*/ 22 h 57"/>
                <a:gd name="T14" fmla="*/ 0 w 88"/>
                <a:gd name="T15" fmla="*/ 38 h 57"/>
                <a:gd name="T16" fmla="*/ 17 w 88"/>
                <a:gd name="T17" fmla="*/ 57 h 57"/>
                <a:gd name="T18" fmla="*/ 19 w 88"/>
                <a:gd name="T19" fmla="*/ 57 h 57"/>
                <a:gd name="T20" fmla="*/ 21 w 88"/>
                <a:gd name="T21" fmla="*/ 57 h 57"/>
                <a:gd name="T22" fmla="*/ 61 w 88"/>
                <a:gd name="T23" fmla="*/ 57 h 57"/>
                <a:gd name="T24" fmla="*/ 61 w 88"/>
                <a:gd name="T25" fmla="*/ 57 h 57"/>
                <a:gd name="T26" fmla="*/ 62 w 88"/>
                <a:gd name="T27" fmla="*/ 57 h 57"/>
                <a:gd name="T28" fmla="*/ 65 w 88"/>
                <a:gd name="T29" fmla="*/ 57 h 57"/>
                <a:gd name="T30" fmla="*/ 72 w 88"/>
                <a:gd name="T31" fmla="*/ 57 h 57"/>
                <a:gd name="T32" fmla="*/ 88 w 88"/>
                <a:gd name="T33" fmla="*/ 41 h 57"/>
                <a:gd name="T34" fmla="*/ 74 w 88"/>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57">
                  <a:moveTo>
                    <a:pt x="74" y="25"/>
                  </a:moveTo>
                  <a:cubicBezTo>
                    <a:pt x="74" y="24"/>
                    <a:pt x="74" y="24"/>
                    <a:pt x="74" y="24"/>
                  </a:cubicBezTo>
                  <a:cubicBezTo>
                    <a:pt x="74" y="10"/>
                    <a:pt x="63" y="0"/>
                    <a:pt x="50" y="0"/>
                  </a:cubicBezTo>
                  <a:cubicBezTo>
                    <a:pt x="41" y="0"/>
                    <a:pt x="34" y="4"/>
                    <a:pt x="29" y="10"/>
                  </a:cubicBezTo>
                  <a:cubicBezTo>
                    <a:pt x="28" y="9"/>
                    <a:pt x="25" y="9"/>
                    <a:pt x="23" y="9"/>
                  </a:cubicBezTo>
                  <a:cubicBezTo>
                    <a:pt x="20" y="9"/>
                    <a:pt x="17" y="10"/>
                    <a:pt x="15" y="11"/>
                  </a:cubicBezTo>
                  <a:cubicBezTo>
                    <a:pt x="11" y="13"/>
                    <a:pt x="9" y="18"/>
                    <a:pt x="9" y="22"/>
                  </a:cubicBezTo>
                  <a:cubicBezTo>
                    <a:pt x="4" y="26"/>
                    <a:pt x="0" y="32"/>
                    <a:pt x="0" y="38"/>
                  </a:cubicBezTo>
                  <a:cubicBezTo>
                    <a:pt x="0" y="48"/>
                    <a:pt x="7" y="56"/>
                    <a:pt x="17" y="57"/>
                  </a:cubicBezTo>
                  <a:cubicBezTo>
                    <a:pt x="18" y="57"/>
                    <a:pt x="18" y="57"/>
                    <a:pt x="19" y="57"/>
                  </a:cubicBezTo>
                  <a:cubicBezTo>
                    <a:pt x="20" y="57"/>
                    <a:pt x="20" y="57"/>
                    <a:pt x="21" y="57"/>
                  </a:cubicBezTo>
                  <a:cubicBezTo>
                    <a:pt x="30" y="57"/>
                    <a:pt x="51" y="57"/>
                    <a:pt x="61" y="57"/>
                  </a:cubicBezTo>
                  <a:cubicBezTo>
                    <a:pt x="61" y="57"/>
                    <a:pt x="61" y="57"/>
                    <a:pt x="61" y="57"/>
                  </a:cubicBezTo>
                  <a:cubicBezTo>
                    <a:pt x="62" y="57"/>
                    <a:pt x="62" y="57"/>
                    <a:pt x="62" y="57"/>
                  </a:cubicBezTo>
                  <a:cubicBezTo>
                    <a:pt x="63" y="57"/>
                    <a:pt x="64" y="57"/>
                    <a:pt x="65" y="57"/>
                  </a:cubicBezTo>
                  <a:cubicBezTo>
                    <a:pt x="72" y="57"/>
                    <a:pt x="72" y="57"/>
                    <a:pt x="72" y="57"/>
                  </a:cubicBezTo>
                  <a:cubicBezTo>
                    <a:pt x="81" y="57"/>
                    <a:pt x="88" y="50"/>
                    <a:pt x="88" y="41"/>
                  </a:cubicBezTo>
                  <a:cubicBezTo>
                    <a:pt x="88" y="33"/>
                    <a:pt x="82" y="26"/>
                    <a:pt x="74" y="2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4" name="Freeform 14"/>
            <p:cNvSpPr>
              <a:spLocks/>
            </p:cNvSpPr>
            <p:nvPr userDrawn="1"/>
          </p:nvSpPr>
          <p:spPr bwMode="auto">
            <a:xfrm>
              <a:off x="7386651" y="1501776"/>
              <a:ext cx="836614" cy="546101"/>
            </a:xfrm>
            <a:custGeom>
              <a:avLst/>
              <a:gdLst>
                <a:gd name="T0" fmla="*/ 114 w 136"/>
                <a:gd name="T1" fmla="*/ 39 h 89"/>
                <a:gd name="T2" fmla="*/ 114 w 136"/>
                <a:gd name="T3" fmla="*/ 37 h 89"/>
                <a:gd name="T4" fmla="*/ 76 w 136"/>
                <a:gd name="T5" fmla="*/ 0 h 89"/>
                <a:gd name="T6" fmla="*/ 45 w 136"/>
                <a:gd name="T7" fmla="*/ 16 h 89"/>
                <a:gd name="T8" fmla="*/ 35 w 136"/>
                <a:gd name="T9" fmla="*/ 14 h 89"/>
                <a:gd name="T10" fmla="*/ 23 w 136"/>
                <a:gd name="T11" fmla="*/ 17 h 89"/>
                <a:gd name="T12" fmla="*/ 13 w 136"/>
                <a:gd name="T13" fmla="*/ 35 h 89"/>
                <a:gd name="T14" fmla="*/ 0 w 136"/>
                <a:gd name="T15" fmla="*/ 60 h 89"/>
                <a:gd name="T16" fmla="*/ 26 w 136"/>
                <a:gd name="T17" fmla="*/ 89 h 89"/>
                <a:gd name="T18" fmla="*/ 29 w 136"/>
                <a:gd name="T19" fmla="*/ 89 h 89"/>
                <a:gd name="T20" fmla="*/ 32 w 136"/>
                <a:gd name="T21" fmla="*/ 89 h 89"/>
                <a:gd name="T22" fmla="*/ 93 w 136"/>
                <a:gd name="T23" fmla="*/ 89 h 89"/>
                <a:gd name="T24" fmla="*/ 95 w 136"/>
                <a:gd name="T25" fmla="*/ 89 h 89"/>
                <a:gd name="T26" fmla="*/ 96 w 136"/>
                <a:gd name="T27" fmla="*/ 89 h 89"/>
                <a:gd name="T28" fmla="*/ 101 w 136"/>
                <a:gd name="T29" fmla="*/ 89 h 89"/>
                <a:gd name="T30" fmla="*/ 110 w 136"/>
                <a:gd name="T31" fmla="*/ 89 h 89"/>
                <a:gd name="T32" fmla="*/ 136 w 136"/>
                <a:gd name="T33" fmla="*/ 64 h 89"/>
                <a:gd name="T34" fmla="*/ 114 w 136"/>
                <a:gd name="T35" fmla="*/ 3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 h="89">
                  <a:moveTo>
                    <a:pt x="114" y="39"/>
                  </a:moveTo>
                  <a:cubicBezTo>
                    <a:pt x="114" y="38"/>
                    <a:pt x="114" y="38"/>
                    <a:pt x="114" y="37"/>
                  </a:cubicBezTo>
                  <a:cubicBezTo>
                    <a:pt x="114" y="16"/>
                    <a:pt x="97" y="0"/>
                    <a:pt x="76" y="0"/>
                  </a:cubicBezTo>
                  <a:cubicBezTo>
                    <a:pt x="63" y="0"/>
                    <a:pt x="52" y="6"/>
                    <a:pt x="45" y="16"/>
                  </a:cubicBezTo>
                  <a:cubicBezTo>
                    <a:pt x="42" y="15"/>
                    <a:pt x="39" y="14"/>
                    <a:pt x="35" y="14"/>
                  </a:cubicBezTo>
                  <a:cubicBezTo>
                    <a:pt x="30" y="14"/>
                    <a:pt x="26" y="15"/>
                    <a:pt x="23" y="17"/>
                  </a:cubicBezTo>
                  <a:cubicBezTo>
                    <a:pt x="17" y="21"/>
                    <a:pt x="13" y="27"/>
                    <a:pt x="13" y="35"/>
                  </a:cubicBezTo>
                  <a:cubicBezTo>
                    <a:pt x="5" y="40"/>
                    <a:pt x="0" y="49"/>
                    <a:pt x="0" y="60"/>
                  </a:cubicBezTo>
                  <a:cubicBezTo>
                    <a:pt x="0" y="75"/>
                    <a:pt x="11" y="87"/>
                    <a:pt x="26" y="89"/>
                  </a:cubicBezTo>
                  <a:cubicBezTo>
                    <a:pt x="27" y="89"/>
                    <a:pt x="28" y="89"/>
                    <a:pt x="29" y="89"/>
                  </a:cubicBezTo>
                  <a:cubicBezTo>
                    <a:pt x="30" y="89"/>
                    <a:pt x="31" y="89"/>
                    <a:pt x="32" y="89"/>
                  </a:cubicBezTo>
                  <a:cubicBezTo>
                    <a:pt x="46" y="89"/>
                    <a:pt x="78" y="89"/>
                    <a:pt x="93" y="89"/>
                  </a:cubicBezTo>
                  <a:cubicBezTo>
                    <a:pt x="94" y="89"/>
                    <a:pt x="94" y="89"/>
                    <a:pt x="95" y="89"/>
                  </a:cubicBezTo>
                  <a:cubicBezTo>
                    <a:pt x="96" y="89"/>
                    <a:pt x="96" y="89"/>
                    <a:pt x="96" y="89"/>
                  </a:cubicBezTo>
                  <a:cubicBezTo>
                    <a:pt x="97" y="89"/>
                    <a:pt x="99" y="89"/>
                    <a:pt x="101" y="89"/>
                  </a:cubicBezTo>
                  <a:cubicBezTo>
                    <a:pt x="110" y="89"/>
                    <a:pt x="110" y="89"/>
                    <a:pt x="110" y="89"/>
                  </a:cubicBezTo>
                  <a:cubicBezTo>
                    <a:pt x="124" y="89"/>
                    <a:pt x="136" y="78"/>
                    <a:pt x="136" y="64"/>
                  </a:cubicBezTo>
                  <a:cubicBezTo>
                    <a:pt x="136" y="51"/>
                    <a:pt x="126" y="41"/>
                    <a:pt x="114" y="39"/>
                  </a:cubicBezTo>
                  <a:close/>
                </a:path>
              </a:pathLst>
            </a:custGeom>
            <a:solidFill>
              <a:schemeClr val="accent6">
                <a:lumMod val="20000"/>
                <a:lumOff val="80000"/>
              </a:schemeClr>
            </a:solidFill>
            <a:ln>
              <a:noFill/>
            </a:ln>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5" name="Rectangle 16"/>
            <p:cNvSpPr>
              <a:spLocks noChangeArrowheads="1"/>
            </p:cNvSpPr>
            <p:nvPr userDrawn="1"/>
          </p:nvSpPr>
          <p:spPr bwMode="auto">
            <a:xfrm>
              <a:off x="8518540" y="2017714"/>
              <a:ext cx="1846266" cy="1531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6" name="Rectangle 20"/>
            <p:cNvSpPr>
              <a:spLocks noChangeArrowheads="1"/>
            </p:cNvSpPr>
            <p:nvPr userDrawn="1"/>
          </p:nvSpPr>
          <p:spPr bwMode="auto">
            <a:xfrm>
              <a:off x="8704278" y="2220914"/>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7" name="Rectangle 22"/>
            <p:cNvSpPr>
              <a:spLocks noChangeArrowheads="1"/>
            </p:cNvSpPr>
            <p:nvPr userDrawn="1"/>
          </p:nvSpPr>
          <p:spPr bwMode="auto">
            <a:xfrm>
              <a:off x="8704278" y="2640015"/>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8" name="Rectangle 27"/>
            <p:cNvSpPr>
              <a:spLocks noChangeArrowheads="1"/>
            </p:cNvSpPr>
            <p:nvPr userDrawn="1"/>
          </p:nvSpPr>
          <p:spPr bwMode="auto">
            <a:xfrm>
              <a:off x="8704278" y="3051178"/>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69" name="Rectangle 29"/>
            <p:cNvSpPr>
              <a:spLocks noChangeArrowheads="1"/>
            </p:cNvSpPr>
            <p:nvPr userDrawn="1"/>
          </p:nvSpPr>
          <p:spPr bwMode="auto">
            <a:xfrm>
              <a:off x="8518540" y="3549654"/>
              <a:ext cx="1846266" cy="2344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70" name="Rectangle 31"/>
            <p:cNvSpPr>
              <a:spLocks noChangeArrowheads="1"/>
            </p:cNvSpPr>
            <p:nvPr userDrawn="1"/>
          </p:nvSpPr>
          <p:spPr bwMode="auto">
            <a:xfrm>
              <a:off x="8426465" y="3513141"/>
              <a:ext cx="2030416" cy="7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71" name="Rectangle 34"/>
            <p:cNvSpPr>
              <a:spLocks noChangeArrowheads="1"/>
            </p:cNvSpPr>
            <p:nvPr userDrawn="1"/>
          </p:nvSpPr>
          <p:spPr bwMode="auto">
            <a:xfrm>
              <a:off x="9115441" y="5426082"/>
              <a:ext cx="241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72" name="Rectangle 36"/>
            <p:cNvSpPr>
              <a:spLocks noChangeArrowheads="1"/>
            </p:cNvSpPr>
            <p:nvPr userDrawn="1"/>
          </p:nvSpPr>
          <p:spPr bwMode="auto">
            <a:xfrm>
              <a:off x="8704278" y="3795717"/>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73" name="Rectangle 38"/>
            <p:cNvSpPr>
              <a:spLocks noChangeArrowheads="1"/>
            </p:cNvSpPr>
            <p:nvPr userDrawn="1"/>
          </p:nvSpPr>
          <p:spPr bwMode="auto">
            <a:xfrm>
              <a:off x="8704278" y="4208467"/>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74" name="Rectangle 42"/>
            <p:cNvSpPr>
              <a:spLocks noChangeArrowheads="1"/>
            </p:cNvSpPr>
            <p:nvPr userDrawn="1"/>
          </p:nvSpPr>
          <p:spPr bwMode="auto">
            <a:xfrm>
              <a:off x="8704278" y="5038731"/>
              <a:ext cx="1489078" cy="23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nvGrpSpPr>
            <p:cNvPr id="175" name="Group 174"/>
            <p:cNvGrpSpPr/>
            <p:nvPr userDrawn="1"/>
          </p:nvGrpSpPr>
          <p:grpSpPr>
            <a:xfrm>
              <a:off x="9491237" y="5857914"/>
              <a:ext cx="485776" cy="941389"/>
              <a:chOff x="7319976" y="4953006"/>
              <a:chExt cx="485776" cy="941389"/>
            </a:xfrm>
          </p:grpSpPr>
          <p:sp>
            <p:nvSpPr>
              <p:cNvPr id="184" name="Rectangle 46"/>
              <p:cNvSpPr>
                <a:spLocks noChangeArrowheads="1"/>
              </p:cNvSpPr>
              <p:nvPr userDrawn="1"/>
            </p:nvSpPr>
            <p:spPr bwMode="auto">
              <a:xfrm>
                <a:off x="7516826" y="5524507"/>
                <a:ext cx="98425" cy="3698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85" name="Oval 47"/>
              <p:cNvSpPr>
                <a:spLocks noChangeArrowheads="1"/>
              </p:cNvSpPr>
              <p:nvPr userDrawn="1"/>
            </p:nvSpPr>
            <p:spPr bwMode="auto">
              <a:xfrm>
                <a:off x="7319976" y="5205419"/>
                <a:ext cx="485776" cy="485776"/>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sp>
            <p:nvSpPr>
              <p:cNvPr id="186" name="Oval 48"/>
              <p:cNvSpPr>
                <a:spLocks noChangeArrowheads="1"/>
              </p:cNvSpPr>
              <p:nvPr userDrawn="1"/>
            </p:nvSpPr>
            <p:spPr bwMode="auto">
              <a:xfrm>
                <a:off x="7380301" y="4953006"/>
                <a:ext cx="357188" cy="357188"/>
              </a:xfrm>
              <a:prstGeom prst="ellipse">
                <a:avLst/>
              </a:pr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3844"/>
                <a:endParaRPr lang="en-US" sz="1765">
                  <a:solidFill>
                    <a:srgbClr val="000000"/>
                  </a:solidFill>
                </a:endParaRPr>
              </a:p>
            </p:txBody>
          </p:sp>
        </p:grpSp>
        <p:sp>
          <p:nvSpPr>
            <p:cNvPr id="176" name="Freeform 263"/>
            <p:cNvSpPr>
              <a:spLocks/>
            </p:cNvSpPr>
            <p:nvPr userDrawn="1"/>
          </p:nvSpPr>
          <p:spPr bwMode="auto">
            <a:xfrm>
              <a:off x="9767464" y="1212851"/>
              <a:ext cx="705928" cy="467731"/>
            </a:xfrm>
            <a:custGeom>
              <a:avLst/>
              <a:gdLst>
                <a:gd name="T0" fmla="*/ 181 w 216"/>
                <a:gd name="T1" fmla="*/ 63 h 143"/>
                <a:gd name="T2" fmla="*/ 181 w 216"/>
                <a:gd name="T3" fmla="*/ 60 h 143"/>
                <a:gd name="T4" fmla="*/ 122 w 216"/>
                <a:gd name="T5" fmla="*/ 0 h 143"/>
                <a:gd name="T6" fmla="*/ 72 w 216"/>
                <a:gd name="T7" fmla="*/ 27 h 143"/>
                <a:gd name="T8" fmla="*/ 56 w 216"/>
                <a:gd name="T9" fmla="*/ 23 h 143"/>
                <a:gd name="T10" fmla="*/ 36 w 216"/>
                <a:gd name="T11" fmla="*/ 28 h 143"/>
                <a:gd name="T12" fmla="*/ 21 w 216"/>
                <a:gd name="T13" fmla="*/ 56 h 143"/>
                <a:gd name="T14" fmla="*/ 0 w 216"/>
                <a:gd name="T15" fmla="*/ 96 h 143"/>
                <a:gd name="T16" fmla="*/ 41 w 216"/>
                <a:gd name="T17" fmla="*/ 143 h 143"/>
                <a:gd name="T18" fmla="*/ 47 w 216"/>
                <a:gd name="T19" fmla="*/ 143 h 143"/>
                <a:gd name="T20" fmla="*/ 51 w 216"/>
                <a:gd name="T21" fmla="*/ 143 h 143"/>
                <a:gd name="T22" fmla="*/ 149 w 216"/>
                <a:gd name="T23" fmla="*/ 143 h 143"/>
                <a:gd name="T24" fmla="*/ 151 w 216"/>
                <a:gd name="T25" fmla="*/ 143 h 143"/>
                <a:gd name="T26" fmla="*/ 153 w 216"/>
                <a:gd name="T27" fmla="*/ 143 h 143"/>
                <a:gd name="T28" fmla="*/ 160 w 216"/>
                <a:gd name="T29" fmla="*/ 143 h 143"/>
                <a:gd name="T30" fmla="*/ 176 w 216"/>
                <a:gd name="T31" fmla="*/ 143 h 143"/>
                <a:gd name="T32" fmla="*/ 216 w 216"/>
                <a:gd name="T33" fmla="*/ 102 h 143"/>
                <a:gd name="T34" fmla="*/ 181 w 216"/>
                <a:gd name="T35" fmla="*/ 6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6" h="143">
                  <a:moveTo>
                    <a:pt x="181" y="63"/>
                  </a:moveTo>
                  <a:cubicBezTo>
                    <a:pt x="181" y="62"/>
                    <a:pt x="181" y="61"/>
                    <a:pt x="181" y="60"/>
                  </a:cubicBezTo>
                  <a:cubicBezTo>
                    <a:pt x="181" y="27"/>
                    <a:pt x="155" y="0"/>
                    <a:pt x="122" y="0"/>
                  </a:cubicBezTo>
                  <a:cubicBezTo>
                    <a:pt x="101" y="0"/>
                    <a:pt x="83" y="11"/>
                    <a:pt x="72" y="27"/>
                  </a:cubicBezTo>
                  <a:cubicBezTo>
                    <a:pt x="67" y="24"/>
                    <a:pt x="62" y="23"/>
                    <a:pt x="56" y="23"/>
                  </a:cubicBezTo>
                  <a:cubicBezTo>
                    <a:pt x="48" y="23"/>
                    <a:pt x="42" y="25"/>
                    <a:pt x="36" y="28"/>
                  </a:cubicBezTo>
                  <a:cubicBezTo>
                    <a:pt x="27" y="34"/>
                    <a:pt x="21" y="45"/>
                    <a:pt x="21" y="56"/>
                  </a:cubicBezTo>
                  <a:cubicBezTo>
                    <a:pt x="8" y="65"/>
                    <a:pt x="0" y="79"/>
                    <a:pt x="0" y="96"/>
                  </a:cubicBezTo>
                  <a:cubicBezTo>
                    <a:pt x="0" y="120"/>
                    <a:pt x="18" y="140"/>
                    <a:pt x="41" y="143"/>
                  </a:cubicBezTo>
                  <a:cubicBezTo>
                    <a:pt x="43" y="143"/>
                    <a:pt x="45" y="143"/>
                    <a:pt x="47" y="143"/>
                  </a:cubicBezTo>
                  <a:cubicBezTo>
                    <a:pt x="48" y="143"/>
                    <a:pt x="50" y="143"/>
                    <a:pt x="51" y="143"/>
                  </a:cubicBezTo>
                  <a:cubicBezTo>
                    <a:pt x="73" y="143"/>
                    <a:pt x="124" y="143"/>
                    <a:pt x="149" y="143"/>
                  </a:cubicBezTo>
                  <a:cubicBezTo>
                    <a:pt x="150" y="143"/>
                    <a:pt x="150" y="143"/>
                    <a:pt x="151" y="143"/>
                  </a:cubicBezTo>
                  <a:cubicBezTo>
                    <a:pt x="153" y="143"/>
                    <a:pt x="153" y="143"/>
                    <a:pt x="153" y="143"/>
                  </a:cubicBezTo>
                  <a:cubicBezTo>
                    <a:pt x="154" y="143"/>
                    <a:pt x="158" y="143"/>
                    <a:pt x="160" y="143"/>
                  </a:cubicBezTo>
                  <a:cubicBezTo>
                    <a:pt x="176" y="143"/>
                    <a:pt x="176" y="143"/>
                    <a:pt x="176" y="143"/>
                  </a:cubicBezTo>
                  <a:cubicBezTo>
                    <a:pt x="198" y="142"/>
                    <a:pt x="216" y="124"/>
                    <a:pt x="216" y="102"/>
                  </a:cubicBezTo>
                  <a:cubicBezTo>
                    <a:pt x="216" y="82"/>
                    <a:pt x="201" y="66"/>
                    <a:pt x="181" y="63"/>
                  </a:cubicBezTo>
                  <a:close/>
                </a:path>
              </a:pathLst>
            </a:custGeom>
            <a:solidFill>
              <a:schemeClr val="accent6">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3844"/>
              <a:endParaRPr lang="en-IN" sz="1765">
                <a:solidFill>
                  <a:srgbClr val="000000"/>
                </a:solidFill>
              </a:endParaRPr>
            </a:p>
          </p:txBody>
        </p:sp>
        <p:sp>
          <p:nvSpPr>
            <p:cNvPr id="177" name="Freeform 264"/>
            <p:cNvSpPr>
              <a:spLocks/>
            </p:cNvSpPr>
            <p:nvPr userDrawn="1"/>
          </p:nvSpPr>
          <p:spPr bwMode="auto">
            <a:xfrm>
              <a:off x="11328704" y="1452491"/>
              <a:ext cx="873387" cy="574559"/>
            </a:xfrm>
            <a:custGeom>
              <a:avLst/>
              <a:gdLst>
                <a:gd name="T0" fmla="*/ 224 w 267"/>
                <a:gd name="T1" fmla="*/ 77 h 176"/>
                <a:gd name="T2" fmla="*/ 224 w 267"/>
                <a:gd name="T3" fmla="*/ 74 h 176"/>
                <a:gd name="T4" fmla="*/ 151 w 267"/>
                <a:gd name="T5" fmla="*/ 0 h 176"/>
                <a:gd name="T6" fmla="*/ 89 w 267"/>
                <a:gd name="T7" fmla="*/ 33 h 176"/>
                <a:gd name="T8" fmla="*/ 69 w 267"/>
                <a:gd name="T9" fmla="*/ 28 h 176"/>
                <a:gd name="T10" fmla="*/ 46 w 267"/>
                <a:gd name="T11" fmla="*/ 35 h 176"/>
                <a:gd name="T12" fmla="*/ 27 w 267"/>
                <a:gd name="T13" fmla="*/ 69 h 176"/>
                <a:gd name="T14" fmla="*/ 0 w 267"/>
                <a:gd name="T15" fmla="*/ 118 h 176"/>
                <a:gd name="T16" fmla="*/ 52 w 267"/>
                <a:gd name="T17" fmla="*/ 176 h 176"/>
                <a:gd name="T18" fmla="*/ 58 w 267"/>
                <a:gd name="T19" fmla="*/ 176 h 176"/>
                <a:gd name="T20" fmla="*/ 64 w 267"/>
                <a:gd name="T21" fmla="*/ 176 h 176"/>
                <a:gd name="T22" fmla="*/ 184 w 267"/>
                <a:gd name="T23" fmla="*/ 176 h 176"/>
                <a:gd name="T24" fmla="*/ 186 w 267"/>
                <a:gd name="T25" fmla="*/ 176 h 176"/>
                <a:gd name="T26" fmla="*/ 190 w 267"/>
                <a:gd name="T27" fmla="*/ 176 h 176"/>
                <a:gd name="T28" fmla="*/ 198 w 267"/>
                <a:gd name="T29" fmla="*/ 176 h 176"/>
                <a:gd name="T30" fmla="*/ 218 w 267"/>
                <a:gd name="T31" fmla="*/ 176 h 176"/>
                <a:gd name="T32" fmla="*/ 267 w 267"/>
                <a:gd name="T33" fmla="*/ 126 h 176"/>
                <a:gd name="T34" fmla="*/ 224 w 267"/>
                <a:gd name="T35" fmla="*/ 7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176">
                  <a:moveTo>
                    <a:pt x="224" y="77"/>
                  </a:moveTo>
                  <a:cubicBezTo>
                    <a:pt x="224" y="76"/>
                    <a:pt x="224" y="75"/>
                    <a:pt x="224" y="74"/>
                  </a:cubicBezTo>
                  <a:cubicBezTo>
                    <a:pt x="224" y="33"/>
                    <a:pt x="191" y="0"/>
                    <a:pt x="151" y="0"/>
                  </a:cubicBezTo>
                  <a:cubicBezTo>
                    <a:pt x="125" y="0"/>
                    <a:pt x="103" y="13"/>
                    <a:pt x="89" y="33"/>
                  </a:cubicBezTo>
                  <a:cubicBezTo>
                    <a:pt x="84" y="30"/>
                    <a:pt x="77" y="28"/>
                    <a:pt x="69" y="28"/>
                  </a:cubicBezTo>
                  <a:cubicBezTo>
                    <a:pt x="60" y="28"/>
                    <a:pt x="52" y="30"/>
                    <a:pt x="46" y="35"/>
                  </a:cubicBezTo>
                  <a:cubicBezTo>
                    <a:pt x="34" y="42"/>
                    <a:pt x="27" y="55"/>
                    <a:pt x="27" y="69"/>
                  </a:cubicBezTo>
                  <a:cubicBezTo>
                    <a:pt x="11" y="80"/>
                    <a:pt x="0" y="98"/>
                    <a:pt x="0" y="118"/>
                  </a:cubicBezTo>
                  <a:cubicBezTo>
                    <a:pt x="0" y="148"/>
                    <a:pt x="23" y="172"/>
                    <a:pt x="52" y="176"/>
                  </a:cubicBezTo>
                  <a:cubicBezTo>
                    <a:pt x="54" y="176"/>
                    <a:pt x="56" y="176"/>
                    <a:pt x="58" y="176"/>
                  </a:cubicBezTo>
                  <a:cubicBezTo>
                    <a:pt x="60" y="176"/>
                    <a:pt x="62" y="176"/>
                    <a:pt x="64" y="176"/>
                  </a:cubicBezTo>
                  <a:cubicBezTo>
                    <a:pt x="91" y="176"/>
                    <a:pt x="154" y="176"/>
                    <a:pt x="184" y="176"/>
                  </a:cubicBezTo>
                  <a:cubicBezTo>
                    <a:pt x="185" y="176"/>
                    <a:pt x="186" y="176"/>
                    <a:pt x="186" y="176"/>
                  </a:cubicBezTo>
                  <a:cubicBezTo>
                    <a:pt x="190" y="176"/>
                    <a:pt x="190" y="176"/>
                    <a:pt x="190" y="176"/>
                  </a:cubicBezTo>
                  <a:cubicBezTo>
                    <a:pt x="191" y="176"/>
                    <a:pt x="195" y="176"/>
                    <a:pt x="198" y="176"/>
                  </a:cubicBezTo>
                  <a:cubicBezTo>
                    <a:pt x="218" y="176"/>
                    <a:pt x="218" y="176"/>
                    <a:pt x="218" y="176"/>
                  </a:cubicBezTo>
                  <a:cubicBezTo>
                    <a:pt x="245" y="175"/>
                    <a:pt x="267" y="153"/>
                    <a:pt x="267" y="126"/>
                  </a:cubicBezTo>
                  <a:cubicBezTo>
                    <a:pt x="267" y="101"/>
                    <a:pt x="248" y="81"/>
                    <a:pt x="224" y="7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3844"/>
              <a:endParaRPr lang="en-IN" sz="1765">
                <a:solidFill>
                  <a:srgbClr val="000000"/>
                </a:solidFill>
              </a:endParaRPr>
            </a:p>
          </p:txBody>
        </p:sp>
        <p:sp>
          <p:nvSpPr>
            <p:cNvPr id="178" name="Freeform 266"/>
            <p:cNvSpPr>
              <a:spLocks/>
            </p:cNvSpPr>
            <p:nvPr userDrawn="1"/>
          </p:nvSpPr>
          <p:spPr bwMode="auto">
            <a:xfrm>
              <a:off x="10480609" y="2678119"/>
              <a:ext cx="664063" cy="154466"/>
            </a:xfrm>
            <a:custGeom>
              <a:avLst/>
              <a:gdLst>
                <a:gd name="T0" fmla="*/ 147 w 203"/>
                <a:gd name="T1" fmla="*/ 0 h 47"/>
                <a:gd name="T2" fmla="*/ 112 w 203"/>
                <a:gd name="T3" fmla="*/ 11 h 47"/>
                <a:gd name="T4" fmla="*/ 72 w 203"/>
                <a:gd name="T5" fmla="*/ 0 h 47"/>
                <a:gd name="T6" fmla="*/ 0 w 203"/>
                <a:gd name="T7" fmla="*/ 47 h 47"/>
                <a:gd name="T8" fmla="*/ 72 w 203"/>
                <a:gd name="T9" fmla="*/ 19 h 47"/>
                <a:gd name="T10" fmla="*/ 99 w 203"/>
                <a:gd name="T11" fmla="*/ 22 h 47"/>
                <a:gd name="T12" fmla="*/ 91 w 203"/>
                <a:gd name="T13" fmla="*/ 36 h 47"/>
                <a:gd name="T14" fmla="*/ 107 w 203"/>
                <a:gd name="T15" fmla="*/ 24 h 47"/>
                <a:gd name="T16" fmla="*/ 122 w 203"/>
                <a:gd name="T17" fmla="*/ 18 h 47"/>
                <a:gd name="T18" fmla="*/ 147 w 203"/>
                <a:gd name="T19" fmla="*/ 15 h 47"/>
                <a:gd name="T20" fmla="*/ 203 w 203"/>
                <a:gd name="T21" fmla="*/ 36 h 47"/>
                <a:gd name="T22" fmla="*/ 147 w 20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7">
                  <a:moveTo>
                    <a:pt x="147" y="0"/>
                  </a:moveTo>
                  <a:cubicBezTo>
                    <a:pt x="134" y="0"/>
                    <a:pt x="122" y="4"/>
                    <a:pt x="112" y="11"/>
                  </a:cubicBezTo>
                  <a:cubicBezTo>
                    <a:pt x="101" y="4"/>
                    <a:pt x="87" y="0"/>
                    <a:pt x="72" y="0"/>
                  </a:cubicBezTo>
                  <a:cubicBezTo>
                    <a:pt x="40" y="0"/>
                    <a:pt x="12" y="19"/>
                    <a:pt x="0" y="47"/>
                  </a:cubicBezTo>
                  <a:cubicBezTo>
                    <a:pt x="17" y="30"/>
                    <a:pt x="43" y="19"/>
                    <a:pt x="72" y="19"/>
                  </a:cubicBezTo>
                  <a:cubicBezTo>
                    <a:pt x="82" y="19"/>
                    <a:pt x="91" y="20"/>
                    <a:pt x="99" y="22"/>
                  </a:cubicBezTo>
                  <a:cubicBezTo>
                    <a:pt x="96" y="27"/>
                    <a:pt x="93" y="31"/>
                    <a:pt x="91" y="36"/>
                  </a:cubicBezTo>
                  <a:cubicBezTo>
                    <a:pt x="96" y="32"/>
                    <a:pt x="101" y="28"/>
                    <a:pt x="107" y="24"/>
                  </a:cubicBezTo>
                  <a:cubicBezTo>
                    <a:pt x="112" y="22"/>
                    <a:pt x="117" y="20"/>
                    <a:pt x="122" y="18"/>
                  </a:cubicBezTo>
                  <a:cubicBezTo>
                    <a:pt x="130" y="16"/>
                    <a:pt x="138" y="15"/>
                    <a:pt x="147" y="15"/>
                  </a:cubicBezTo>
                  <a:cubicBezTo>
                    <a:pt x="169" y="15"/>
                    <a:pt x="189" y="23"/>
                    <a:pt x="203" y="36"/>
                  </a:cubicBezTo>
                  <a:cubicBezTo>
                    <a:pt x="193" y="15"/>
                    <a:pt x="172" y="0"/>
                    <a:pt x="147"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pPr defTabSz="913844"/>
              <a:endParaRPr lang="en-IN" sz="1765">
                <a:solidFill>
                  <a:srgbClr val="000000"/>
                </a:solidFill>
              </a:endParaRPr>
            </a:p>
          </p:txBody>
        </p:sp>
        <p:sp>
          <p:nvSpPr>
            <p:cNvPr id="179" name="Freeform 267"/>
            <p:cNvSpPr>
              <a:spLocks/>
            </p:cNvSpPr>
            <p:nvPr userDrawn="1"/>
          </p:nvSpPr>
          <p:spPr bwMode="auto">
            <a:xfrm>
              <a:off x="11013303" y="2411051"/>
              <a:ext cx="661175" cy="147249"/>
            </a:xfrm>
            <a:custGeom>
              <a:avLst/>
              <a:gdLst>
                <a:gd name="T0" fmla="*/ 146 w 202"/>
                <a:gd name="T1" fmla="*/ 0 h 45"/>
                <a:gd name="T2" fmla="*/ 111 w 202"/>
                <a:gd name="T3" fmla="*/ 10 h 45"/>
                <a:gd name="T4" fmla="*/ 71 w 202"/>
                <a:gd name="T5" fmla="*/ 0 h 45"/>
                <a:gd name="T6" fmla="*/ 0 w 202"/>
                <a:gd name="T7" fmla="*/ 45 h 45"/>
                <a:gd name="T8" fmla="*/ 71 w 202"/>
                <a:gd name="T9" fmla="*/ 18 h 45"/>
                <a:gd name="T10" fmla="*/ 99 w 202"/>
                <a:gd name="T11" fmla="*/ 22 h 45"/>
                <a:gd name="T12" fmla="*/ 90 w 202"/>
                <a:gd name="T13" fmla="*/ 35 h 45"/>
                <a:gd name="T14" fmla="*/ 106 w 202"/>
                <a:gd name="T15" fmla="*/ 24 h 45"/>
                <a:gd name="T16" fmla="*/ 122 w 202"/>
                <a:gd name="T17" fmla="*/ 17 h 45"/>
                <a:gd name="T18" fmla="*/ 146 w 202"/>
                <a:gd name="T19" fmla="*/ 14 h 45"/>
                <a:gd name="T20" fmla="*/ 202 w 202"/>
                <a:gd name="T21" fmla="*/ 35 h 45"/>
                <a:gd name="T22" fmla="*/ 146 w 202"/>
                <a:gd name="T2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45">
                  <a:moveTo>
                    <a:pt x="146" y="0"/>
                  </a:moveTo>
                  <a:cubicBezTo>
                    <a:pt x="133" y="0"/>
                    <a:pt x="121" y="4"/>
                    <a:pt x="111" y="10"/>
                  </a:cubicBezTo>
                  <a:cubicBezTo>
                    <a:pt x="100" y="4"/>
                    <a:pt x="86" y="0"/>
                    <a:pt x="71" y="0"/>
                  </a:cubicBezTo>
                  <a:cubicBezTo>
                    <a:pt x="40" y="0"/>
                    <a:pt x="12" y="19"/>
                    <a:pt x="0" y="45"/>
                  </a:cubicBezTo>
                  <a:cubicBezTo>
                    <a:pt x="17" y="29"/>
                    <a:pt x="43" y="18"/>
                    <a:pt x="71" y="18"/>
                  </a:cubicBezTo>
                  <a:cubicBezTo>
                    <a:pt x="81" y="18"/>
                    <a:pt x="90" y="20"/>
                    <a:pt x="99" y="22"/>
                  </a:cubicBezTo>
                  <a:cubicBezTo>
                    <a:pt x="95" y="26"/>
                    <a:pt x="92" y="30"/>
                    <a:pt x="90" y="35"/>
                  </a:cubicBezTo>
                  <a:cubicBezTo>
                    <a:pt x="95" y="31"/>
                    <a:pt x="100" y="27"/>
                    <a:pt x="106" y="24"/>
                  </a:cubicBezTo>
                  <a:cubicBezTo>
                    <a:pt x="111" y="21"/>
                    <a:pt x="116" y="19"/>
                    <a:pt x="122" y="17"/>
                  </a:cubicBezTo>
                  <a:cubicBezTo>
                    <a:pt x="129" y="15"/>
                    <a:pt x="138" y="14"/>
                    <a:pt x="146" y="14"/>
                  </a:cubicBezTo>
                  <a:cubicBezTo>
                    <a:pt x="168" y="14"/>
                    <a:pt x="188" y="22"/>
                    <a:pt x="202" y="35"/>
                  </a:cubicBezTo>
                  <a:cubicBezTo>
                    <a:pt x="192" y="14"/>
                    <a:pt x="171" y="0"/>
                    <a:pt x="146"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pPr defTabSz="913844"/>
              <a:endParaRPr lang="en-IN" sz="1765">
                <a:solidFill>
                  <a:srgbClr val="000000"/>
                </a:solidFill>
              </a:endParaRPr>
            </a:p>
          </p:txBody>
        </p:sp>
        <p:sp>
          <p:nvSpPr>
            <p:cNvPr id="180" name="Freeform 268"/>
            <p:cNvSpPr>
              <a:spLocks/>
            </p:cNvSpPr>
            <p:nvPr userDrawn="1"/>
          </p:nvSpPr>
          <p:spPr bwMode="auto">
            <a:xfrm>
              <a:off x="11325123" y="2623262"/>
              <a:ext cx="664063" cy="157354"/>
            </a:xfrm>
            <a:custGeom>
              <a:avLst/>
              <a:gdLst>
                <a:gd name="T0" fmla="*/ 147 w 203"/>
                <a:gd name="T1" fmla="*/ 0 h 48"/>
                <a:gd name="T2" fmla="*/ 112 w 203"/>
                <a:gd name="T3" fmla="*/ 11 h 48"/>
                <a:gd name="T4" fmla="*/ 72 w 203"/>
                <a:gd name="T5" fmla="*/ 0 h 48"/>
                <a:gd name="T6" fmla="*/ 0 w 203"/>
                <a:gd name="T7" fmla="*/ 48 h 48"/>
                <a:gd name="T8" fmla="*/ 72 w 203"/>
                <a:gd name="T9" fmla="*/ 19 h 48"/>
                <a:gd name="T10" fmla="*/ 99 w 203"/>
                <a:gd name="T11" fmla="*/ 23 h 48"/>
                <a:gd name="T12" fmla="*/ 91 w 203"/>
                <a:gd name="T13" fmla="*/ 37 h 48"/>
                <a:gd name="T14" fmla="*/ 107 w 203"/>
                <a:gd name="T15" fmla="*/ 25 h 48"/>
                <a:gd name="T16" fmla="*/ 122 w 203"/>
                <a:gd name="T17" fmla="*/ 18 h 48"/>
                <a:gd name="T18" fmla="*/ 147 w 203"/>
                <a:gd name="T19" fmla="*/ 15 h 48"/>
                <a:gd name="T20" fmla="*/ 203 w 203"/>
                <a:gd name="T21" fmla="*/ 37 h 48"/>
                <a:gd name="T22" fmla="*/ 147 w 203"/>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3" h="48">
                  <a:moveTo>
                    <a:pt x="147" y="0"/>
                  </a:moveTo>
                  <a:cubicBezTo>
                    <a:pt x="134" y="0"/>
                    <a:pt x="122" y="4"/>
                    <a:pt x="112" y="11"/>
                  </a:cubicBezTo>
                  <a:cubicBezTo>
                    <a:pt x="101" y="4"/>
                    <a:pt x="87" y="0"/>
                    <a:pt x="72" y="0"/>
                  </a:cubicBezTo>
                  <a:cubicBezTo>
                    <a:pt x="40" y="0"/>
                    <a:pt x="13" y="20"/>
                    <a:pt x="0" y="48"/>
                  </a:cubicBezTo>
                  <a:cubicBezTo>
                    <a:pt x="18" y="30"/>
                    <a:pt x="44" y="19"/>
                    <a:pt x="72" y="19"/>
                  </a:cubicBezTo>
                  <a:cubicBezTo>
                    <a:pt x="82" y="19"/>
                    <a:pt x="91" y="21"/>
                    <a:pt x="99" y="23"/>
                  </a:cubicBezTo>
                  <a:cubicBezTo>
                    <a:pt x="96" y="27"/>
                    <a:pt x="93" y="32"/>
                    <a:pt x="91" y="37"/>
                  </a:cubicBezTo>
                  <a:cubicBezTo>
                    <a:pt x="96" y="32"/>
                    <a:pt x="101" y="28"/>
                    <a:pt x="107" y="25"/>
                  </a:cubicBezTo>
                  <a:cubicBezTo>
                    <a:pt x="112" y="22"/>
                    <a:pt x="117" y="20"/>
                    <a:pt x="122" y="18"/>
                  </a:cubicBezTo>
                  <a:cubicBezTo>
                    <a:pt x="130" y="16"/>
                    <a:pt x="138" y="15"/>
                    <a:pt x="147" y="15"/>
                  </a:cubicBezTo>
                  <a:cubicBezTo>
                    <a:pt x="169" y="15"/>
                    <a:pt x="189" y="24"/>
                    <a:pt x="203" y="37"/>
                  </a:cubicBezTo>
                  <a:cubicBezTo>
                    <a:pt x="193" y="15"/>
                    <a:pt x="172" y="0"/>
                    <a:pt x="147" y="0"/>
                  </a:cubicBezTo>
                </a:path>
              </a:pathLst>
            </a:custGeom>
            <a:solidFill>
              <a:schemeClr val="accent1">
                <a:lumMod val="50000"/>
              </a:schemeClr>
            </a:solidFill>
            <a:ln>
              <a:noFill/>
            </a:ln>
            <a:extLst/>
          </p:spPr>
          <p:txBody>
            <a:bodyPr vert="horz" wrap="square" lIns="91440" tIns="45720" rIns="91440" bIns="45720" numCol="1" anchor="t" anchorCtr="0" compatLnSpc="1">
              <a:prstTxWarp prst="textNoShape">
                <a:avLst/>
              </a:prstTxWarp>
            </a:bodyPr>
            <a:lstStyle/>
            <a:p>
              <a:pPr defTabSz="913844"/>
              <a:endParaRPr lang="en-IN" sz="1765">
                <a:solidFill>
                  <a:srgbClr val="000000"/>
                </a:solidFill>
              </a:endParaRPr>
            </a:p>
          </p:txBody>
        </p:sp>
        <p:sp>
          <p:nvSpPr>
            <p:cNvPr id="181" name="Rectangle 180"/>
            <p:cNvSpPr/>
            <p:nvPr userDrawn="1"/>
          </p:nvSpPr>
          <p:spPr bwMode="auto">
            <a:xfrm>
              <a:off x="3462615" y="5909103"/>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2" name="Rectangle 181"/>
            <p:cNvSpPr/>
            <p:nvPr userDrawn="1"/>
          </p:nvSpPr>
          <p:spPr bwMode="auto">
            <a:xfrm>
              <a:off x="3462615" y="6020212"/>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83" name="Rectangle 182"/>
            <p:cNvSpPr/>
            <p:nvPr userDrawn="1"/>
          </p:nvSpPr>
          <p:spPr bwMode="auto">
            <a:xfrm>
              <a:off x="3462615" y="6126558"/>
              <a:ext cx="461744" cy="7315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aphicFrame>
        <p:nvGraphicFramePr>
          <p:cNvPr id="4" name="Object 3"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5632" y="320742"/>
            <a:ext cx="1575269" cy="579535"/>
          </a:xfrm>
          <a:prstGeom prst="rect">
            <a:avLst/>
          </a:prstGeom>
        </p:spPr>
      </p:pic>
      <p:sp>
        <p:nvSpPr>
          <p:cNvPr id="2" name="Title 1"/>
          <p:cNvSpPr>
            <a:spLocks noGrp="1"/>
          </p:cNvSpPr>
          <p:nvPr userDrawn="1">
            <p:ph type="ctrTitle" hasCustomPrompt="1"/>
          </p:nvPr>
        </p:nvSpPr>
        <p:spPr>
          <a:xfrm>
            <a:off x="472173" y="2100821"/>
            <a:ext cx="10746011" cy="1686801"/>
          </a:xfrm>
        </p:spPr>
        <p:txBody>
          <a:bodyPr/>
          <a:lstStyle>
            <a:lvl1pPr marL="0" indent="0">
              <a:defRPr sz="5882">
                <a:solidFill>
                  <a:schemeClr val="bg1"/>
                </a:solidFill>
              </a:defRPr>
            </a:lvl1pPr>
          </a:lstStyle>
          <a:p>
            <a:r>
              <a:rPr lang="en-US" dirty="0" smtClean="0"/>
              <a:t>Headline here</a:t>
            </a:r>
            <a:endParaRPr lang="en-US" dirty="0"/>
          </a:p>
        </p:txBody>
      </p:sp>
      <p:sp>
        <p:nvSpPr>
          <p:cNvPr id="3" name="Subtitle 2"/>
          <p:cNvSpPr>
            <a:spLocks noGrp="1"/>
          </p:cNvSpPr>
          <p:nvPr userDrawn="1">
            <p:ph type="subTitle" idx="1" hasCustomPrompt="1"/>
          </p:nvPr>
        </p:nvSpPr>
        <p:spPr>
          <a:xfrm>
            <a:off x="472172" y="3877277"/>
            <a:ext cx="8331843"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spTree>
    <p:extLst>
      <p:ext uri="{BB962C8B-B14F-4D97-AF65-F5344CB8AC3E}">
        <p14:creationId xmlns:p14="http://schemas.microsoft.com/office/powerpoint/2010/main" val="385886462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extLst>
    <p:ext uri="{DCECCB84-F9BA-43D5-87BE-67443E8EF086}">
      <p15:sldGuideLst xmlns:p15="http://schemas.microsoft.com/office/powerpoint/2012/main">
        <p15:guide id="4294967295" orient="horz" pos="2203">
          <p15:clr>
            <a:srgbClr val="FBAE40"/>
          </p15:clr>
        </p15:guide>
        <p15:guide id="4294967295" pos="391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1"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2" y="4604659"/>
            <a:ext cx="9238480"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1064243"/>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519543488"/>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774167559"/>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74309210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81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1743243331"/>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9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2132041228"/>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02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8" y="2100821"/>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6" y="3877277"/>
            <a:ext cx="10989732" cy="1034782"/>
          </a:xfrm>
        </p:spPr>
        <p:txBody>
          <a:bodyPr/>
          <a:lstStyle>
            <a:lvl1pPr marL="0" indent="0" algn="l">
              <a:buNone/>
              <a:defRPr sz="2157">
                <a:solidFill>
                  <a:schemeClr val="bg1"/>
                </a:solidFill>
                <a:latin typeface="+mn-lt"/>
              </a:defRPr>
            </a:lvl1pPr>
            <a:lvl2pPr marL="447936" indent="0" algn="ctr">
              <a:buNone/>
              <a:defRPr>
                <a:solidFill>
                  <a:schemeClr val="tx1">
                    <a:tint val="75000"/>
                  </a:schemeClr>
                </a:solidFill>
              </a:defRPr>
            </a:lvl2pPr>
            <a:lvl3pPr marL="895873" indent="0" algn="ctr">
              <a:buNone/>
              <a:defRPr>
                <a:solidFill>
                  <a:schemeClr val="tx1">
                    <a:tint val="75000"/>
                  </a:schemeClr>
                </a:solidFill>
              </a:defRPr>
            </a:lvl3pPr>
            <a:lvl4pPr marL="1343810" indent="0" algn="ctr">
              <a:buNone/>
              <a:defRPr>
                <a:solidFill>
                  <a:schemeClr val="tx1">
                    <a:tint val="75000"/>
                  </a:schemeClr>
                </a:solidFill>
              </a:defRPr>
            </a:lvl4pPr>
            <a:lvl5pPr marL="1791747" indent="0" algn="ctr">
              <a:buNone/>
              <a:defRPr>
                <a:solidFill>
                  <a:schemeClr val="tx1">
                    <a:tint val="75000"/>
                  </a:schemeClr>
                </a:solidFill>
              </a:defRPr>
            </a:lvl5pPr>
            <a:lvl6pPr marL="2239684" indent="0" algn="ctr">
              <a:buNone/>
              <a:defRPr>
                <a:solidFill>
                  <a:schemeClr val="tx1">
                    <a:tint val="75000"/>
                  </a:schemeClr>
                </a:solidFill>
              </a:defRPr>
            </a:lvl6pPr>
            <a:lvl7pPr marL="2687621" indent="0" algn="ctr">
              <a:buNone/>
              <a:defRPr>
                <a:solidFill>
                  <a:schemeClr val="tx1">
                    <a:tint val="75000"/>
                  </a:schemeClr>
                </a:solidFill>
              </a:defRPr>
            </a:lvl7pPr>
            <a:lvl8pPr marL="3135556" indent="0" algn="ctr">
              <a:buNone/>
              <a:defRPr>
                <a:solidFill>
                  <a:schemeClr val="tx1">
                    <a:tint val="75000"/>
                  </a:schemeClr>
                </a:solidFill>
              </a:defRPr>
            </a:lvl8pPr>
            <a:lvl9pPr marL="3583494"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1099893455"/>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2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pic>
        <p:nvPicPr>
          <p:cNvPr id="7" name="Picture 9"/>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7220243" y="6102350"/>
            <a:ext cx="2159562" cy="74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1735" y="1930726"/>
            <a:ext cx="4980989" cy="615553"/>
          </a:xfrm>
        </p:spPr>
        <p:txBody>
          <a:bodyPr/>
          <a:lstStyle>
            <a:lvl1pPr>
              <a:defRPr sz="4019">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01733" y="2673576"/>
            <a:ext cx="5026098" cy="2194936"/>
          </a:xfrm>
        </p:spPr>
        <p:txBody>
          <a:bodyPr>
            <a:noAutofit/>
          </a:bodyPr>
          <a:lstStyle>
            <a:lvl1pPr marL="0" indent="0" algn="l" defTabSz="456849" rtl="0" eaLnBrk="1" latinLnBrk="0" hangingPunct="1">
              <a:spcBef>
                <a:spcPct val="0"/>
              </a:spcBef>
              <a:buNone/>
              <a:defRPr lang="en-US" sz="1961" b="0" i="0" kern="1200" baseline="0" dirty="0">
                <a:solidFill>
                  <a:schemeClr val="tx2"/>
                </a:solidFill>
                <a:latin typeface="Segoe UI Light"/>
                <a:ea typeface="+mj-ea"/>
                <a:cs typeface="Segoe UI Light"/>
              </a:defRPr>
            </a:lvl1pPr>
            <a:lvl2pPr marL="456849" indent="0" algn="ctr">
              <a:buNone/>
              <a:defRPr>
                <a:solidFill>
                  <a:schemeClr val="tx1">
                    <a:tint val="75000"/>
                  </a:schemeClr>
                </a:solidFill>
              </a:defRPr>
            </a:lvl2pPr>
            <a:lvl3pPr marL="913705" indent="0" algn="ctr">
              <a:buNone/>
              <a:defRPr>
                <a:solidFill>
                  <a:schemeClr val="tx1">
                    <a:tint val="75000"/>
                  </a:schemeClr>
                </a:solidFill>
              </a:defRPr>
            </a:lvl3pPr>
            <a:lvl4pPr marL="1370553" indent="0" algn="ctr">
              <a:buNone/>
              <a:defRPr>
                <a:solidFill>
                  <a:schemeClr val="tx1">
                    <a:tint val="75000"/>
                  </a:schemeClr>
                </a:solidFill>
              </a:defRPr>
            </a:lvl4pPr>
            <a:lvl5pPr marL="1827405" indent="0" algn="ctr">
              <a:buNone/>
              <a:defRPr>
                <a:solidFill>
                  <a:schemeClr val="tx1">
                    <a:tint val="75000"/>
                  </a:schemeClr>
                </a:solidFill>
              </a:defRPr>
            </a:lvl5pPr>
            <a:lvl6pPr marL="2284254" indent="0" algn="ctr">
              <a:buNone/>
              <a:defRPr>
                <a:solidFill>
                  <a:schemeClr val="tx1">
                    <a:tint val="75000"/>
                  </a:schemeClr>
                </a:solidFill>
              </a:defRPr>
            </a:lvl6pPr>
            <a:lvl7pPr marL="2741105" indent="0" algn="ctr">
              <a:buNone/>
              <a:defRPr>
                <a:solidFill>
                  <a:schemeClr val="tx1">
                    <a:tint val="75000"/>
                  </a:schemeClr>
                </a:solidFill>
              </a:defRPr>
            </a:lvl7pPr>
            <a:lvl8pPr marL="3197956" indent="0" algn="ctr">
              <a:buNone/>
              <a:defRPr>
                <a:solidFill>
                  <a:schemeClr val="tx1">
                    <a:tint val="75000"/>
                  </a:schemeClr>
                </a:solidFill>
              </a:defRPr>
            </a:lvl8pPr>
            <a:lvl9pPr marL="3654806"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5978502" y="5"/>
            <a:ext cx="6213505" cy="6850154"/>
          </a:xfrm>
        </p:spPr>
        <p:txBody>
          <a:bodyPr rtlCol="0">
            <a:normAutofit/>
          </a:bodyPr>
          <a:lstStyle/>
          <a:p>
            <a:pPr lvl="0"/>
            <a:r>
              <a:rPr lang="en-US" noProof="0" smtClean="0"/>
              <a:t>Click icon to add picture</a:t>
            </a:r>
            <a:endParaRPr lang="en-US" noProof="0"/>
          </a:p>
        </p:txBody>
      </p:sp>
      <p:sp>
        <p:nvSpPr>
          <p:cNvPr id="6" name="Footer Placeholder 5"/>
          <p:cNvSpPr>
            <a:spLocks noGrp="1"/>
          </p:cNvSpPr>
          <p:nvPr>
            <p:ph type="ftr" sz="quarter" idx="11"/>
          </p:nvPr>
        </p:nvSpPr>
        <p:spPr/>
        <p:txBody>
          <a:bodyPr/>
          <a:lstStyle/>
          <a:p>
            <a:r>
              <a:rPr smtClean="0">
                <a:solidFill>
                  <a:srgbClr val="505050"/>
                </a:solidFill>
              </a:rPr>
              <a:t>Microsoft Confidential - INTERNAL ONLY</a:t>
            </a:r>
            <a:endParaRPr dirty="0">
              <a:solidFill>
                <a:srgbClr val="505050"/>
              </a:solidFill>
            </a:endParaRPr>
          </a:p>
        </p:txBody>
      </p:sp>
      <p:sp>
        <p:nvSpPr>
          <p:cNvPr id="9" name="Slide Number Placeholder 8"/>
          <p:cNvSpPr>
            <a:spLocks noGrp="1"/>
          </p:cNvSpPr>
          <p:nvPr>
            <p:ph type="sldNum" sz="quarter" idx="12"/>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1977934035"/>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3_Divider Page w/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22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2" name="Title 1"/>
          <p:cNvSpPr>
            <a:spLocks noGrp="1"/>
          </p:cNvSpPr>
          <p:nvPr>
            <p:ph type="ctrTitle"/>
          </p:nvPr>
        </p:nvSpPr>
        <p:spPr>
          <a:xfrm>
            <a:off x="6815236" y="1930726"/>
            <a:ext cx="4980989" cy="615553"/>
          </a:xfrm>
        </p:spPr>
        <p:txBody>
          <a:bodyPr/>
          <a:lstStyle>
            <a:lvl1pPr>
              <a:defRPr sz="4019">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15238" y="2673576"/>
            <a:ext cx="5026098" cy="2194936"/>
          </a:xfrm>
        </p:spPr>
        <p:txBody>
          <a:bodyPr>
            <a:noAutofit/>
          </a:bodyPr>
          <a:lstStyle>
            <a:lvl1pPr marL="0" indent="0" algn="l" defTabSz="456849" rtl="0" eaLnBrk="1" latinLnBrk="0" hangingPunct="1">
              <a:spcBef>
                <a:spcPct val="0"/>
              </a:spcBef>
              <a:buNone/>
              <a:defRPr lang="en-US" sz="1961" b="0" i="0" kern="1200" baseline="0" dirty="0">
                <a:solidFill>
                  <a:schemeClr val="tx2"/>
                </a:solidFill>
                <a:latin typeface="Segoe UI Light"/>
                <a:ea typeface="+mj-ea"/>
                <a:cs typeface="Segoe UI Light"/>
              </a:defRPr>
            </a:lvl1pPr>
            <a:lvl2pPr marL="456849" indent="0" algn="ctr">
              <a:buNone/>
              <a:defRPr>
                <a:solidFill>
                  <a:schemeClr val="tx1">
                    <a:tint val="75000"/>
                  </a:schemeClr>
                </a:solidFill>
              </a:defRPr>
            </a:lvl2pPr>
            <a:lvl3pPr marL="913705" indent="0" algn="ctr">
              <a:buNone/>
              <a:defRPr>
                <a:solidFill>
                  <a:schemeClr val="tx1">
                    <a:tint val="75000"/>
                  </a:schemeClr>
                </a:solidFill>
              </a:defRPr>
            </a:lvl3pPr>
            <a:lvl4pPr marL="1370553" indent="0" algn="ctr">
              <a:buNone/>
              <a:defRPr>
                <a:solidFill>
                  <a:schemeClr val="tx1">
                    <a:tint val="75000"/>
                  </a:schemeClr>
                </a:solidFill>
              </a:defRPr>
            </a:lvl4pPr>
            <a:lvl5pPr marL="1827405" indent="0" algn="ctr">
              <a:buNone/>
              <a:defRPr>
                <a:solidFill>
                  <a:schemeClr val="tx1">
                    <a:tint val="75000"/>
                  </a:schemeClr>
                </a:solidFill>
              </a:defRPr>
            </a:lvl5pPr>
            <a:lvl6pPr marL="2284254" indent="0" algn="ctr">
              <a:buNone/>
              <a:defRPr>
                <a:solidFill>
                  <a:schemeClr val="tx1">
                    <a:tint val="75000"/>
                  </a:schemeClr>
                </a:solidFill>
              </a:defRPr>
            </a:lvl6pPr>
            <a:lvl7pPr marL="2741105" indent="0" algn="ctr">
              <a:buNone/>
              <a:defRPr>
                <a:solidFill>
                  <a:schemeClr val="tx1">
                    <a:tint val="75000"/>
                  </a:schemeClr>
                </a:solidFill>
              </a:defRPr>
            </a:lvl7pPr>
            <a:lvl8pPr marL="3197956" indent="0" algn="ctr">
              <a:buNone/>
              <a:defRPr>
                <a:solidFill>
                  <a:schemeClr val="tx1">
                    <a:tint val="75000"/>
                  </a:schemeClr>
                </a:solidFill>
              </a:defRPr>
            </a:lvl8pPr>
            <a:lvl9pPr marL="3654806" indent="0" algn="ctr">
              <a:buNone/>
              <a:defRPr>
                <a:solidFill>
                  <a:schemeClr val="tx1">
                    <a:tint val="75000"/>
                  </a:schemeClr>
                </a:solidFill>
              </a:defRPr>
            </a:lvl9pPr>
          </a:lstStyle>
          <a:p>
            <a:r>
              <a:rPr lang="en-US" smtClean="0"/>
              <a:t>Click to edit Master subtitle style</a:t>
            </a:r>
            <a:endParaRPr lang="en-US" dirty="0"/>
          </a:p>
        </p:txBody>
      </p:sp>
      <p:sp>
        <p:nvSpPr>
          <p:cNvPr id="5" name="Picture Placeholder 4"/>
          <p:cNvSpPr>
            <a:spLocks noGrp="1"/>
          </p:cNvSpPr>
          <p:nvPr>
            <p:ph type="pic" sz="quarter" idx="10"/>
          </p:nvPr>
        </p:nvSpPr>
        <p:spPr>
          <a:xfrm>
            <a:off x="-9520" y="5"/>
            <a:ext cx="6213505" cy="6850154"/>
          </a:xfrm>
        </p:spPr>
        <p:txBody>
          <a:bodyPr rtlCol="0">
            <a:normAutofit/>
          </a:bodyPr>
          <a:lstStyle/>
          <a:p>
            <a:pPr lvl="0"/>
            <a:r>
              <a:rPr lang="en-US" noProof="0" smtClean="0"/>
              <a:t>Click icon to add picture</a:t>
            </a:r>
            <a:endParaRPr lang="en-US" noProof="0"/>
          </a:p>
        </p:txBody>
      </p:sp>
      <p:sp>
        <p:nvSpPr>
          <p:cNvPr id="6" name="Footer Placeholder 5"/>
          <p:cNvSpPr>
            <a:spLocks noGrp="1"/>
          </p:cNvSpPr>
          <p:nvPr>
            <p:ph type="ftr" sz="quarter" idx="11"/>
          </p:nvPr>
        </p:nvSpPr>
        <p:spPr/>
        <p:txBody>
          <a:bodyPr/>
          <a:lstStyle/>
          <a:p>
            <a:r>
              <a:rPr smtClean="0">
                <a:solidFill>
                  <a:srgbClr val="505050"/>
                </a:solidFill>
              </a:rPr>
              <a:t>Microsoft Confidential - INTERNAL ONLY</a:t>
            </a:r>
            <a:endParaRPr dirty="0">
              <a:solidFill>
                <a:srgbClr val="505050"/>
              </a:solidFill>
            </a:endParaRPr>
          </a:p>
        </p:txBody>
      </p:sp>
      <p:sp>
        <p:nvSpPr>
          <p:cNvPr id="7" name="Slide Number Placeholder 6"/>
          <p:cNvSpPr>
            <a:spLocks noGrp="1"/>
          </p:cNvSpPr>
          <p:nvPr>
            <p:ph type="sldNum" sz="quarter" idx="12"/>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4243111951"/>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6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4" y="259792"/>
            <a:ext cx="11005512" cy="1075884"/>
          </a:xfrm>
        </p:spPr>
        <p:txBody>
          <a:bodyPr lIns="0" tIns="91388" rIns="146220" bIns="91388"/>
          <a:lstStyle>
            <a:lvl1pPr>
              <a:lnSpc>
                <a:spcPts val="4802"/>
              </a:lnSpc>
              <a:defRPr sz="3529"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228635" indent="-228635">
              <a:spcBef>
                <a:spcPts val="1176"/>
              </a:spcBef>
              <a:defRPr sz="2549">
                <a:latin typeface="+mn-lt"/>
              </a:defRPr>
            </a:lvl1pPr>
            <a:lvl2pPr marL="676572" indent="-228635">
              <a:spcBef>
                <a:spcPts val="1176"/>
              </a:spcBef>
              <a:buSzPct val="100000"/>
              <a:buFont typeface="Segoe UI" pitchFamily="34" charset="0"/>
              <a:buChar char="‐"/>
              <a:defRPr/>
            </a:lvl2pPr>
            <a:lvl3pPr marL="1124509" indent="-228635">
              <a:spcBef>
                <a:spcPts val="1176"/>
              </a:spcBef>
              <a:buFont typeface="Wingdings" pitchFamily="2" charset="2"/>
              <a:buChar char="§"/>
              <a:defRPr/>
            </a:lvl3pPr>
            <a:lvl4pPr marL="1567779" indent="-335954">
              <a:spcBef>
                <a:spcPts val="1176"/>
              </a:spcBef>
              <a:buFont typeface="+mj-lt"/>
              <a:buAutoNum type="arabicPeriod"/>
              <a:defRPr/>
            </a:lvl4pPr>
            <a:lvl5pPr marL="1906842" indent="-335954">
              <a:spcBef>
                <a:spcPts val="1176"/>
              </a:spcBef>
              <a:buFont typeface="+mj-lt"/>
              <a:buAutoNum type="alphaLcParenR"/>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90693740"/>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43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
        <p:nvSpPr>
          <p:cNvPr id="7" name="Title 1"/>
          <p:cNvSpPr>
            <a:spLocks noGrp="1"/>
          </p:cNvSpPr>
          <p:nvPr>
            <p:ph type="title" hasCustomPrompt="1"/>
          </p:nvPr>
        </p:nvSpPr>
        <p:spPr>
          <a:xfrm>
            <a:off x="573714" y="259792"/>
            <a:ext cx="11005512" cy="1075884"/>
          </a:xfrm>
        </p:spPr>
        <p:txBody>
          <a:bodyPr lIns="0" tIns="91388" rIns="146220" bIns="91388"/>
          <a:lstStyle>
            <a:lvl1pPr>
              <a:lnSpc>
                <a:spcPts val="4802"/>
              </a:lnSpc>
              <a:defRPr sz="3529"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722841577"/>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11"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909827"/>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3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dirty="0" smtClean="0"/>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6" name="Footer Placeholder 5"/>
          <p:cNvSpPr>
            <a:spLocks noGrp="1"/>
          </p:cNvSpPr>
          <p:nvPr>
            <p:ph type="ftr" sz="quarter" idx="23"/>
          </p:nvPr>
        </p:nvSpPr>
        <p:spPr/>
        <p:txBody>
          <a:bodyPr/>
          <a:lstStyle/>
          <a:p>
            <a:r>
              <a:rPr smtClean="0">
                <a:solidFill>
                  <a:srgbClr val="505050"/>
                </a:solidFill>
              </a:rPr>
              <a:t>Microsoft Confidential - INTERNAL ONLY</a:t>
            </a:r>
            <a:endParaRPr dirty="0">
              <a:solidFill>
                <a:srgbClr val="505050"/>
              </a:solidFill>
            </a:endParaRPr>
          </a:p>
        </p:txBody>
      </p:sp>
      <p:sp>
        <p:nvSpPr>
          <p:cNvPr id="7" name="Slide Number Placeholder 6"/>
          <p:cNvSpPr>
            <a:spLocks noGrp="1"/>
          </p:cNvSpPr>
          <p:nvPr>
            <p:ph type="sldNum" sz="quarter" idx="24"/>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4126847389"/>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Placeholder 4"/>
          <p:cNvSpPr>
            <a:spLocks noGrp="1"/>
          </p:cNvSpPr>
          <p:nvPr>
            <p:ph type="body" sz="quarter" idx="10"/>
          </p:nvPr>
        </p:nvSpPr>
        <p:spPr>
          <a:xfrm>
            <a:off x="510963" y="368325"/>
            <a:ext cx="6274790" cy="448271"/>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UI" panose="020B0502040204020203" pitchFamily="34" charset="0"/>
                <a:cs typeface="Segoe UI" panose="020B0502040204020203" pitchFamily="34" charset="0"/>
                <a:sym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UI" panose="020B0502040204020203" pitchFamily="34" charset="0"/>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6" name="Footer Placeholder 5"/>
          <p:cNvSpPr>
            <a:spLocks noGrp="1"/>
          </p:cNvSpPr>
          <p:nvPr>
            <p:ph type="ftr" sz="quarter" idx="43"/>
          </p:nvPr>
        </p:nvSpPr>
        <p:spPr/>
        <p:txBody>
          <a:bodyPr/>
          <a:lstStyle/>
          <a:p>
            <a:r>
              <a:rPr smtClean="0">
                <a:solidFill>
                  <a:srgbClr val="505050"/>
                </a:solidFill>
              </a:rPr>
              <a:t>Microsoft Confidential - INTERNAL ONLY</a:t>
            </a:r>
            <a:endParaRPr dirty="0">
              <a:solidFill>
                <a:srgbClr val="505050"/>
              </a:solidFill>
            </a:endParaRPr>
          </a:p>
        </p:txBody>
      </p:sp>
      <p:sp>
        <p:nvSpPr>
          <p:cNvPr id="7" name="Slide Number Placeholder 6"/>
          <p:cNvSpPr>
            <a:spLocks noGrp="1"/>
          </p:cNvSpPr>
          <p:nvPr>
            <p:ph type="sldNum" sz="quarter" idx="44"/>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495247407"/>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74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8" y="2100821"/>
            <a:ext cx="11007660" cy="1686801"/>
          </a:xfrm>
        </p:spPr>
        <p:txBody>
          <a:bodyPr/>
          <a:lstStyle>
            <a:lvl1pPr>
              <a:defRPr sz="8627">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3972352563"/>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84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8" y="2100821"/>
            <a:ext cx="11007660" cy="1686801"/>
          </a:xfrm>
        </p:spPr>
        <p:txBody>
          <a:bodyPr/>
          <a:lstStyle>
            <a:lvl1pPr>
              <a:defRPr sz="8627">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3542562839"/>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194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9"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060" y="2646134"/>
            <a:ext cx="4140487" cy="1523268"/>
          </a:xfrm>
          <a:prstGeom prst="rect">
            <a:avLst/>
          </a:prstGeom>
        </p:spPr>
      </p:pic>
    </p:spTree>
    <p:extLst>
      <p:ext uri="{BB962C8B-B14F-4D97-AF65-F5344CB8AC3E}">
        <p14:creationId xmlns:p14="http://schemas.microsoft.com/office/powerpoint/2010/main" val="188681611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extBox 1"/>
          <p:cNvSpPr txBox="1"/>
          <p:nvPr userDrawn="1"/>
        </p:nvSpPr>
        <p:spPr>
          <a:xfrm>
            <a:off x="10778519" y="307059"/>
            <a:ext cx="1141531" cy="755177"/>
          </a:xfrm>
          <a:prstGeom prst="rect">
            <a:avLst/>
          </a:prstGeom>
          <a:noFill/>
        </p:spPr>
        <p:txBody>
          <a:bodyPr wrap="none" lIns="179285" tIns="143428" rIns="179285" bIns="143428" rtlCol="0">
            <a:spAutoFit/>
          </a:bodyPr>
          <a:lstStyle/>
          <a:p>
            <a:pPr algn="r" defTabSz="914367">
              <a:lnSpc>
                <a:spcPct val="80000"/>
              </a:lnSpc>
              <a:spcBef>
                <a:spcPts val="588"/>
              </a:spcBef>
              <a:spcAft>
                <a:spcPts val="588"/>
              </a:spcAft>
            </a:pPr>
            <a:r>
              <a:rPr lang="en-US" sz="1029" dirty="0">
                <a:gradFill>
                  <a:gsLst>
                    <a:gs pos="8609">
                      <a:srgbClr val="FFFFFF"/>
                    </a:gs>
                    <a:gs pos="100000">
                      <a:srgbClr val="FFFFFF"/>
                    </a:gs>
                  </a:gsLst>
                  <a:lin ang="5400000" scaled="0"/>
                </a:gradFill>
              </a:rPr>
              <a:t>Doug </a:t>
            </a:r>
            <a:r>
              <a:rPr lang="en-US" sz="1029" dirty="0" err="1">
                <a:gradFill>
                  <a:gsLst>
                    <a:gs pos="8609">
                      <a:srgbClr val="FFFFFF"/>
                    </a:gs>
                    <a:gs pos="100000">
                      <a:srgbClr val="FFFFFF"/>
                    </a:gs>
                  </a:gsLst>
                  <a:lin ang="5400000" scaled="0"/>
                </a:gradFill>
              </a:rPr>
              <a:t>Elie</a:t>
            </a:r>
            <a:endParaRPr lang="en-US" sz="1029" dirty="0">
              <a:gradFill>
                <a:gsLst>
                  <a:gs pos="8609">
                    <a:srgbClr val="FFFFFF"/>
                  </a:gs>
                  <a:gs pos="100000">
                    <a:srgbClr val="FFFFFF"/>
                  </a:gs>
                </a:gsLst>
                <a:lin ang="5400000" scaled="0"/>
              </a:gradFill>
            </a:endParaRPr>
          </a:p>
          <a:p>
            <a:pPr algn="r" defTabSz="914367">
              <a:lnSpc>
                <a:spcPct val="50000"/>
              </a:lnSpc>
              <a:spcAft>
                <a:spcPts val="588"/>
              </a:spcAft>
            </a:pPr>
            <a:r>
              <a:rPr lang="en-US" sz="1029" dirty="0" err="1">
                <a:gradFill>
                  <a:gsLst>
                    <a:gs pos="8609">
                      <a:srgbClr val="FFFFFF"/>
                    </a:gs>
                    <a:gs pos="100000">
                      <a:srgbClr val="FFFFFF"/>
                    </a:gs>
                  </a:gsLst>
                  <a:lin ang="5400000" scaled="0"/>
                </a:gradFill>
              </a:rPr>
              <a:t>Seema</a:t>
            </a:r>
            <a:r>
              <a:rPr lang="en-US" sz="1029" dirty="0">
                <a:gradFill>
                  <a:gsLst>
                    <a:gs pos="8609">
                      <a:srgbClr val="FFFFFF"/>
                    </a:gs>
                    <a:gs pos="100000">
                      <a:srgbClr val="FFFFFF"/>
                    </a:gs>
                  </a:gsLst>
                  <a:lin ang="5400000" scaled="0"/>
                </a:gradFill>
              </a:rPr>
              <a:t> </a:t>
            </a:r>
            <a:r>
              <a:rPr lang="en-US" sz="1029" dirty="0" err="1">
                <a:gradFill>
                  <a:gsLst>
                    <a:gs pos="8609">
                      <a:srgbClr val="FFFFFF"/>
                    </a:gs>
                    <a:gs pos="100000">
                      <a:srgbClr val="FFFFFF"/>
                    </a:gs>
                  </a:gsLst>
                  <a:lin ang="5400000" scaled="0"/>
                </a:gradFill>
              </a:rPr>
              <a:t>Galish</a:t>
            </a:r>
            <a:endParaRPr lang="en-US" sz="1029" dirty="0">
              <a:gradFill>
                <a:gsLst>
                  <a:gs pos="8609">
                    <a:srgbClr val="FFFFFF"/>
                  </a:gs>
                  <a:gs pos="100000">
                    <a:srgbClr val="FFFFFF"/>
                  </a:gs>
                </a:gsLst>
                <a:lin ang="5400000" scaled="0"/>
              </a:gradFill>
            </a:endParaRPr>
          </a:p>
          <a:p>
            <a:pPr algn="r" defTabSz="914367">
              <a:lnSpc>
                <a:spcPct val="80000"/>
              </a:lnSpc>
              <a:spcAft>
                <a:spcPts val="588"/>
              </a:spcAft>
            </a:pPr>
            <a:r>
              <a:rPr lang="en-US" sz="882" dirty="0">
                <a:gradFill>
                  <a:gsLst>
                    <a:gs pos="8609">
                      <a:srgbClr val="FFFFFF"/>
                    </a:gs>
                    <a:gs pos="100000">
                      <a:srgbClr val="FFFFFF"/>
                    </a:gs>
                  </a:gsLst>
                  <a:lin ang="5400000" scaled="0"/>
                </a:gradFill>
              </a:rPr>
              <a:t>Group Access</a:t>
            </a:r>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White">
          <a:xfrm>
            <a:off x="453541" y="470067"/>
            <a:ext cx="1623796" cy="346675"/>
          </a:xfrm>
          <a:prstGeom prst="rect">
            <a:avLst/>
          </a:prstGeom>
        </p:spPr>
      </p:pic>
    </p:spTree>
    <p:extLst>
      <p:ext uri="{BB962C8B-B14F-4D97-AF65-F5344CB8AC3E}">
        <p14:creationId xmlns:p14="http://schemas.microsoft.com/office/powerpoint/2010/main" val="21937204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pos="288">
          <p15:clr>
            <a:srgbClr val="C35EA4"/>
          </p15:clr>
        </p15:guide>
        <p15:guide id="4294967295" pos="7546">
          <p15:clr>
            <a:srgbClr val="C35EA4"/>
          </p15:clr>
        </p15:guide>
        <p15:guide id="4294967295" orient="horz" pos="4104">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lumMod val="75000"/>
          </a:schemeClr>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69303" y="2084186"/>
            <a:ext cx="9860610" cy="1793104"/>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33489" y="3877278"/>
            <a:ext cx="2689273" cy="2689655"/>
          </a:xfrm>
          <a:prstGeom prst="rect">
            <a:avLst/>
          </a:prstGeom>
        </p:spPr>
      </p:pic>
    </p:spTree>
    <p:extLst>
      <p:ext uri="{BB962C8B-B14F-4D97-AF65-F5344CB8AC3E}">
        <p14:creationId xmlns:p14="http://schemas.microsoft.com/office/powerpoint/2010/main" val="1147838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orient="horz" pos="302">
          <p15:clr>
            <a:srgbClr val="C35EA4"/>
          </p15:clr>
        </p15:guide>
        <p15:guide id="4294967295" orient="horz" pos="4104">
          <p15:clr>
            <a:srgbClr val="C35EA4"/>
          </p15:clr>
        </p15:guide>
        <p15:guide id="4294967295" pos="288">
          <p15:clr>
            <a:srgbClr val="C35EA4"/>
          </p15:clr>
        </p15:guide>
        <p15:guide id="4294967295" pos="7546">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000211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par>
                                <p:cTn id="10" presetID="10" presetClass="entr" presetSubtype="0" fill="hold" grpId="0" nodeType="withEffect">
                                  <p:stCondLst>
                                    <p:cond delay="6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750"/>
                                        <p:tgtEl>
                                          <p:spTgt spid="5"/>
                                        </p:tgtEl>
                                      </p:cBhvr>
                                    </p:animEffect>
                                  </p:childTnLst>
                                </p:cTn>
                              </p:par>
                              <p:par>
                                <p:cTn id="13" presetID="63" presetClass="path" presetSubtype="0" decel="100000" fill="hold" grpId="1" nodeType="withEffect">
                                  <p:stCondLst>
                                    <p:cond delay="600"/>
                                  </p:stCondLst>
                                  <p:childTnLst>
                                    <p:animMotion origin="layout" path="M -0.0241 -7.40741E-7 L 1.27637E-6 -7.40741E-7 " pathEditMode="relative" rAng="0" ptsTypes="AA">
                                      <p:cBhvr>
                                        <p:cTn id="14"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5959807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07243280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121547"/>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21302899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924460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356880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93133547"/>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69239" y="1190734"/>
            <a:ext cx="11653523" cy="218797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9210063"/>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187971"/>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739466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527002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7794491"/>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1675829"/>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677" indent="-28167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702" indent="-228601">
              <a:defRPr sz="2353"/>
            </a:lvl2pPr>
            <a:lvl3pPr marL="685803" indent="-165101">
              <a:tabLst/>
              <a:defRPr sz="2353"/>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73753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bg bwMode="black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16073" y="5959292"/>
            <a:ext cx="9237846" cy="664797"/>
          </a:xfrm>
        </p:spPr>
        <p:txBody>
          <a:bodyPr anchor="ctr" anchorCtr="0">
            <a:normAutofit/>
          </a:bodyPr>
          <a:lstStyle>
            <a:lvl1pPr>
              <a:lnSpc>
                <a:spcPct val="90000"/>
              </a:lnSpc>
              <a:defRPr sz="4800">
                <a:gradFill>
                  <a:gsLst>
                    <a:gs pos="0">
                      <a:schemeClr val="bg1"/>
                    </a:gs>
                    <a:gs pos="88000">
                      <a:schemeClr val="bg1"/>
                    </a:gs>
                  </a:gsLst>
                  <a:lin ang="5400000" scaled="0"/>
                </a:gradFill>
              </a:defRPr>
            </a:lvl1pPr>
          </a:lstStyle>
          <a:p>
            <a:r>
              <a:rPr lang="en-US" smtClean="0"/>
              <a:t>Click to edit Master title style</a:t>
            </a:r>
            <a:endParaRPr lang="en-US" dirty="0"/>
          </a:p>
        </p:txBody>
      </p:sp>
      <p:sp>
        <p:nvSpPr>
          <p:cNvPr id="7" name="Text Placeholder 6"/>
          <p:cNvSpPr>
            <a:spLocks noGrp="1"/>
          </p:cNvSpPr>
          <p:nvPr>
            <p:ph type="body" sz="quarter" idx="10" hasCustomPrompt="1"/>
          </p:nvPr>
        </p:nvSpPr>
        <p:spPr>
          <a:xfrm>
            <a:off x="516075" y="4604659"/>
            <a:ext cx="9238479" cy="1378644"/>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000" b="0" i="0" u="none" strike="noStrike" kern="1200" cap="none" spc="-643" normalizeH="0" baseline="0" noProof="0" dirty="0" smtClean="0">
                <a:ln w="11430"/>
                <a:gradFill>
                  <a:gsLst>
                    <a:gs pos="0">
                      <a:schemeClr val="bg1"/>
                    </a:gs>
                    <a:gs pos="88000">
                      <a:schemeClr val="bg1"/>
                    </a:gs>
                  </a:gsLst>
                  <a:lin ang="5400000"/>
                </a:gradFill>
                <a:effectLst/>
                <a:uLnTx/>
                <a:uFillTx/>
                <a:latin typeface="+mj-lt"/>
                <a:ea typeface="+mn-ea"/>
                <a:cs typeface="+mn-cs"/>
              </a:defRPr>
            </a:lvl1pPr>
          </a:lstStyle>
          <a:p>
            <a:pPr lvl="0"/>
            <a:r>
              <a:rPr lang="en-US" dirty="0" smtClean="0"/>
              <a:t>click to…</a:t>
            </a:r>
          </a:p>
        </p:txBody>
      </p:sp>
      <p:pic>
        <p:nvPicPr>
          <p:cNvPr id="4" name="Picture 2" descr="\\SERVER3\InternalBin\Resource DVD\DVD_ART36\DVD_Art_08-10-2010\Logos\Microsoft Dynamics\Dynamics - overall brand\dynamics brand rev h.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855036" y="6198151"/>
            <a:ext cx="2037148"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1901599"/>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9322629"/>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504884"/>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398299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34947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95319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5743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044686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heme" Target="../theme/theme3.xml"/><Relationship Id="rId3" Type="http://schemas.openxmlformats.org/officeDocument/2006/relationships/slideLayout" Target="../slideLayouts/slideLayout60.xml"/><Relationship Id="rId21" Type="http://schemas.openxmlformats.org/officeDocument/2006/relationships/oleObject" Target="../embeddings/oleObject1.bin"/><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ags" Target="../tags/tag1.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vmlDrawing" Target="../drawings/vmlDrawing1.v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theme" Target="../theme/theme4.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60939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0946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9" r:id="rId28"/>
  </p:sldLayoutIdLst>
  <p:transition>
    <p:fade/>
  </p:transition>
  <p:timing>
    <p:tnLst>
      <p:par>
        <p:cTn id="1" dur="indefinite" restart="never" nodeType="tmRoot"/>
      </p:par>
    </p:tnLst>
  </p:timing>
  <p:hf sldNum="0" hdr="0" ftr="0" dt="0"/>
  <p:txStyles>
    <p:titleStyle>
      <a:lvl1pPr algn="l" defTabSz="914325"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55" indent="-460355" algn="l" defTabSz="914325" rtl="0" eaLnBrk="1" latinLnBrk="0" hangingPunct="1">
        <a:lnSpc>
          <a:spcPct val="90000"/>
        </a:lnSpc>
        <a:spcBef>
          <a:spcPct val="200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855628" indent="-395272" algn="l" defTabSz="914325" rtl="0" eaLnBrk="1" latinLnBrk="0" hangingPunct="1">
        <a:lnSpc>
          <a:spcPct val="90000"/>
        </a:lnSpc>
        <a:spcBef>
          <a:spcPct val="200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258836" indent="-403208" algn="l" defTabSz="914325" rtl="0" eaLnBrk="1" latinLnBrk="0" hangingPunct="1">
        <a:lnSpc>
          <a:spcPct val="9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1604896" indent="-346061"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1432" indent="-336536"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2"/>
            <a:ext cx="11151917" cy="609399"/>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248" y="1447801"/>
            <a:ext cx="11151916" cy="2000548"/>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7764783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Lst>
  <p:transition>
    <p:fade/>
  </p:transition>
  <p:timing>
    <p:tnLst>
      <p:par>
        <p:cTn id="1" dur="indefinite" restart="never" nodeType="tmRoot"/>
      </p:par>
    </p:tnLst>
  </p:timing>
  <p:hf sldNum="0" hdr="0" ftr="0" dt="0"/>
  <p:txStyles>
    <p:titleStyle>
      <a:lvl1pPr algn="l" defTabSz="914325"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55" indent="-460355" algn="l" defTabSz="914325" rtl="0" eaLnBrk="1" latinLnBrk="0" hangingPunct="1">
        <a:lnSpc>
          <a:spcPct val="90000"/>
        </a:lnSpc>
        <a:spcBef>
          <a:spcPct val="20000"/>
        </a:spcBef>
        <a:buClr>
          <a:schemeClr val="accent1"/>
        </a:buClr>
        <a:buSzPct val="90000"/>
        <a:buFont typeface="Wingdings" pitchFamily="2" charset="2"/>
        <a:buChar char="§"/>
        <a:defRPr sz="3200" kern="1200" spc="-71" baseline="0">
          <a:gradFill>
            <a:gsLst>
              <a:gs pos="0">
                <a:schemeClr val="tx1"/>
              </a:gs>
              <a:gs pos="86000">
                <a:schemeClr val="tx1"/>
              </a:gs>
            </a:gsLst>
            <a:lin ang="5400000" scaled="0"/>
          </a:gradFill>
          <a:latin typeface="+mn-lt"/>
          <a:ea typeface="+mn-ea"/>
          <a:cs typeface="+mn-cs"/>
        </a:defRPr>
      </a:lvl1pPr>
      <a:lvl2pPr marL="855628" indent="-395272" algn="l" defTabSz="914325" rtl="0" eaLnBrk="1" latinLnBrk="0" hangingPunct="1">
        <a:lnSpc>
          <a:spcPct val="90000"/>
        </a:lnSpc>
        <a:spcBef>
          <a:spcPct val="20000"/>
        </a:spcBef>
        <a:buClr>
          <a:schemeClr val="accent1"/>
        </a:buClr>
        <a:buSzPct val="90000"/>
        <a:buFont typeface="Wingdings" pitchFamily="2" charset="2"/>
        <a:buChar char="§"/>
        <a:defRPr sz="2800" kern="1200" spc="-71" baseline="0">
          <a:gradFill>
            <a:gsLst>
              <a:gs pos="0">
                <a:schemeClr val="tx1"/>
              </a:gs>
              <a:gs pos="86000">
                <a:schemeClr val="tx1"/>
              </a:gs>
            </a:gsLst>
            <a:lin ang="5400000" scaled="0"/>
          </a:gradFill>
          <a:latin typeface="+mn-lt"/>
          <a:ea typeface="+mn-ea"/>
          <a:cs typeface="+mn-cs"/>
        </a:defRPr>
      </a:lvl2pPr>
      <a:lvl3pPr marL="1258836" indent="-403208" algn="l" defTabSz="914325" rtl="0" eaLnBrk="1" latinLnBrk="0" hangingPunct="1">
        <a:lnSpc>
          <a:spcPct val="90000"/>
        </a:lnSpc>
        <a:spcBef>
          <a:spcPct val="20000"/>
        </a:spcBef>
        <a:buClr>
          <a:schemeClr val="accent1"/>
        </a:buClr>
        <a:buSzPct val="90000"/>
        <a:buFont typeface="Wingdings" pitchFamily="2" charset="2"/>
        <a:buChar char="§"/>
        <a:defRPr sz="2400" kern="1200" spc="-71" baseline="0">
          <a:gradFill>
            <a:gsLst>
              <a:gs pos="0">
                <a:schemeClr val="tx1"/>
              </a:gs>
              <a:gs pos="86000">
                <a:schemeClr val="tx1"/>
              </a:gs>
            </a:gsLst>
            <a:lin ang="5400000" scaled="0"/>
          </a:gradFill>
          <a:latin typeface="+mn-lt"/>
          <a:ea typeface="+mn-ea"/>
          <a:cs typeface="+mn-cs"/>
        </a:defRPr>
      </a:lvl3pPr>
      <a:lvl4pPr marL="1604896" indent="-346061"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4pPr>
      <a:lvl5pPr marL="1941432" indent="-336536" algn="l" defTabSz="914325" rtl="0" eaLnBrk="1" latinLnBrk="0" hangingPunct="1">
        <a:lnSpc>
          <a:spcPct val="90000"/>
        </a:lnSpc>
        <a:spcBef>
          <a:spcPct val="20000"/>
        </a:spcBef>
        <a:buClr>
          <a:schemeClr val="accent1"/>
        </a:buClr>
        <a:buSzPct val="90000"/>
        <a:buFont typeface="Wingdings" pitchFamily="2" charset="2"/>
        <a:buChar char="§"/>
        <a:defRPr sz="2000" kern="1200" spc="-71" baseline="0">
          <a:gradFill>
            <a:gsLst>
              <a:gs pos="0">
                <a:schemeClr val="tx1"/>
              </a:gs>
              <a:gs pos="86000">
                <a:schemeClr val="tx1"/>
              </a:gs>
            </a:gsLst>
            <a:lin ang="5400000" scaled="0"/>
          </a:gradFill>
          <a:latin typeface="+mn-lt"/>
          <a:ea typeface="+mn-ea"/>
          <a:cs typeface="+mn-cs"/>
        </a:defRPr>
      </a:lvl5pPr>
      <a:lvl6pPr marL="2514395"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57"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20"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83" indent="-228581" algn="l" defTabSz="91432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25" rtl="0" eaLnBrk="1" latinLnBrk="0" hangingPunct="1">
        <a:defRPr sz="1900" kern="1200">
          <a:solidFill>
            <a:schemeClr val="tx1"/>
          </a:solidFill>
          <a:latin typeface="+mn-lt"/>
          <a:ea typeface="+mn-ea"/>
          <a:cs typeface="+mn-cs"/>
        </a:defRPr>
      </a:lvl1pPr>
      <a:lvl2pPr marL="457163" algn="l" defTabSz="914325" rtl="0" eaLnBrk="1" latinLnBrk="0" hangingPunct="1">
        <a:defRPr sz="1900" kern="1200">
          <a:solidFill>
            <a:schemeClr val="tx1"/>
          </a:solidFill>
          <a:latin typeface="+mn-lt"/>
          <a:ea typeface="+mn-ea"/>
          <a:cs typeface="+mn-cs"/>
        </a:defRPr>
      </a:lvl2pPr>
      <a:lvl3pPr marL="914325" algn="l" defTabSz="914325" rtl="0" eaLnBrk="1" latinLnBrk="0" hangingPunct="1">
        <a:defRPr sz="1900" kern="1200">
          <a:solidFill>
            <a:schemeClr val="tx1"/>
          </a:solidFill>
          <a:latin typeface="+mn-lt"/>
          <a:ea typeface="+mn-ea"/>
          <a:cs typeface="+mn-cs"/>
        </a:defRPr>
      </a:lvl3pPr>
      <a:lvl4pPr marL="1371488" algn="l" defTabSz="914325" rtl="0" eaLnBrk="1" latinLnBrk="0" hangingPunct="1">
        <a:defRPr sz="1900" kern="1200">
          <a:solidFill>
            <a:schemeClr val="tx1"/>
          </a:solidFill>
          <a:latin typeface="+mn-lt"/>
          <a:ea typeface="+mn-ea"/>
          <a:cs typeface="+mn-cs"/>
        </a:defRPr>
      </a:lvl4pPr>
      <a:lvl5pPr marL="1828651" algn="l" defTabSz="914325" rtl="0" eaLnBrk="1" latinLnBrk="0" hangingPunct="1">
        <a:defRPr sz="1900" kern="1200">
          <a:solidFill>
            <a:schemeClr val="tx1"/>
          </a:solidFill>
          <a:latin typeface="+mn-lt"/>
          <a:ea typeface="+mn-ea"/>
          <a:cs typeface="+mn-cs"/>
        </a:defRPr>
      </a:lvl5pPr>
      <a:lvl6pPr marL="2285813" algn="l" defTabSz="914325" rtl="0" eaLnBrk="1" latinLnBrk="0" hangingPunct="1">
        <a:defRPr sz="1900" kern="1200">
          <a:solidFill>
            <a:schemeClr val="tx1"/>
          </a:solidFill>
          <a:latin typeface="+mn-lt"/>
          <a:ea typeface="+mn-ea"/>
          <a:cs typeface="+mn-cs"/>
        </a:defRPr>
      </a:lvl6pPr>
      <a:lvl7pPr marL="2742976" algn="l" defTabSz="914325" rtl="0" eaLnBrk="1" latinLnBrk="0" hangingPunct="1">
        <a:defRPr sz="1900" kern="1200">
          <a:solidFill>
            <a:schemeClr val="tx1"/>
          </a:solidFill>
          <a:latin typeface="+mn-lt"/>
          <a:ea typeface="+mn-ea"/>
          <a:cs typeface="+mn-cs"/>
        </a:defRPr>
      </a:lvl7pPr>
      <a:lvl8pPr marL="3200139" algn="l" defTabSz="914325" rtl="0" eaLnBrk="1" latinLnBrk="0" hangingPunct="1">
        <a:defRPr sz="1900" kern="1200">
          <a:solidFill>
            <a:schemeClr val="tx1"/>
          </a:solidFill>
          <a:latin typeface="+mn-lt"/>
          <a:ea typeface="+mn-ea"/>
          <a:cs typeface="+mn-cs"/>
        </a:defRPr>
      </a:lvl8pPr>
      <a:lvl9pPr marL="3657301" algn="l" defTabSz="914325"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0"/>
            </p:custDataLst>
            <p:extLst/>
          </p:nvPr>
        </p:nvGraphicFramePr>
        <p:xfrm>
          <a:off x="1559" y="1558"/>
          <a:ext cx="1556" cy="1556"/>
        </p:xfrm>
        <a:graphic>
          <a:graphicData uri="http://schemas.openxmlformats.org/presentationml/2006/ole">
            <mc:AlternateContent xmlns:mc="http://schemas.openxmlformats.org/markup-compatibility/2006">
              <mc:Choice xmlns:v="urn:schemas-microsoft-com:vml" Requires="v">
                <p:oleObj spid="_x0000_s2051"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59"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573718" y="289517"/>
            <a:ext cx="11049623" cy="899665"/>
          </a:xfrm>
          <a:prstGeom prst="rect">
            <a:avLst/>
          </a:prstGeom>
        </p:spPr>
        <p:txBody>
          <a:bodyPr vert="horz" wrap="square" lIns="0" tIns="91388" rIns="146220" bIns="91388"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91640" y="1189178"/>
            <a:ext cx="11047424" cy="2052030"/>
          </a:xfrm>
          <a:prstGeom prst="rect">
            <a:avLst/>
          </a:prstGeom>
        </p:spPr>
        <p:txBody>
          <a:bodyPr vert="horz" wrap="square" lIns="0" tIns="146220" rIns="182776" bIns="1462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Footer Placeholder 2"/>
          <p:cNvSpPr>
            <a:spLocks noGrp="1"/>
          </p:cNvSpPr>
          <p:nvPr>
            <p:ph type="ftr" sz="quarter" idx="3"/>
          </p:nvPr>
        </p:nvSpPr>
        <p:spPr>
          <a:xfrm>
            <a:off x="573716" y="6550312"/>
            <a:ext cx="3859607" cy="134483"/>
          </a:xfrm>
          <a:prstGeom prst="rect">
            <a:avLst/>
          </a:prstGeom>
        </p:spPr>
        <p:txBody>
          <a:bodyPr vert="horz" lIns="0" tIns="0" rIns="91388" bIns="0" rtlCol="0" anchor="ctr"/>
          <a:lstStyle>
            <a:lvl1pPr marL="0" algn="l" defTabSz="913844" rtl="0" eaLnBrk="1" latinLnBrk="0" hangingPunct="1">
              <a:defRPr lang="en-US" sz="882" kern="1200">
                <a:solidFill>
                  <a:schemeClr val="tx2"/>
                </a:solidFill>
                <a:latin typeface="+mn-lt"/>
                <a:ea typeface="+mn-ea"/>
                <a:cs typeface="+mn-cs"/>
              </a:defRPr>
            </a:lvl1pPr>
          </a:lstStyle>
          <a:p>
            <a:r>
              <a:rPr smtClean="0">
                <a:solidFill>
                  <a:srgbClr val="505050"/>
                </a:solidFill>
              </a:rPr>
              <a:t>Microsoft Confidential - INTERNAL ONLY</a:t>
            </a:r>
            <a:endParaRPr dirty="0">
              <a:solidFill>
                <a:srgbClr val="505050"/>
              </a:solidFill>
            </a:endParaRPr>
          </a:p>
        </p:txBody>
      </p:sp>
      <p:sp>
        <p:nvSpPr>
          <p:cNvPr id="5" name="Slide Number Placeholder 4"/>
          <p:cNvSpPr>
            <a:spLocks noGrp="1"/>
          </p:cNvSpPr>
          <p:nvPr>
            <p:ph type="sldNum" sz="quarter" idx="4"/>
          </p:nvPr>
        </p:nvSpPr>
        <p:spPr>
          <a:xfrm>
            <a:off x="11083475" y="6550312"/>
            <a:ext cx="555596" cy="134483"/>
          </a:xfrm>
          <a:prstGeom prst="rect">
            <a:avLst/>
          </a:prstGeom>
        </p:spPr>
        <p:txBody>
          <a:bodyPr vert="horz" lIns="91388" tIns="0" rIns="0" bIns="0" rtlCol="0" anchor="ctr"/>
          <a:lstStyle>
            <a:lvl1pPr algn="r">
              <a:defRPr lang="en-US" sz="882" b="0" kern="1200" smtClean="0">
                <a:solidFill>
                  <a:schemeClr val="tx2"/>
                </a:solidFill>
                <a:latin typeface="+mn-lt"/>
                <a:ea typeface="+mn-ea"/>
                <a:cs typeface="+mn-cs"/>
              </a:defRPr>
            </a:lvl1pPr>
          </a:lstStyle>
          <a:p>
            <a:pPr defTabSz="913844"/>
            <a:fld id="{27258FFF-F925-446B-8502-81C933981705}" type="slidenum">
              <a:rPr lang="en-US" smtClean="0">
                <a:solidFill>
                  <a:srgbClr val="505050"/>
                </a:solidFill>
              </a:rPr>
              <a:pPr defTabSz="913844"/>
              <a:t>‹#›</a:t>
            </a:fld>
            <a:endParaRPr lang="en-US">
              <a:solidFill>
                <a:srgbClr val="505050"/>
              </a:solidFill>
            </a:endParaRPr>
          </a:p>
        </p:txBody>
      </p:sp>
    </p:spTree>
    <p:extLst>
      <p:ext uri="{BB962C8B-B14F-4D97-AF65-F5344CB8AC3E}">
        <p14:creationId xmlns:p14="http://schemas.microsoft.com/office/powerpoint/2010/main" val="305638158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Lst>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hf hdr="0" dt="0"/>
  <p:txStyles>
    <p:titleStyle>
      <a:lvl1pPr algn="l" defTabSz="913844"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5954" marR="0" indent="-335954" algn="l" defTabSz="913844"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364" marR="0" indent="-236411" algn="l" defTabSz="913844"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3891" marR="0" indent="-223970" algn="l" defTabSz="91384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7860" marR="0" indent="-223970" algn="l" defTabSz="9138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1827" marR="0" indent="-223970" algn="l" defTabSz="91384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3071" indent="-228461" algn="l" defTabSz="91384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69993" indent="-228461" algn="l" defTabSz="91384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6917" indent="-228461" algn="l" defTabSz="91384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3838" indent="-228461" algn="l" defTabSz="91384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3844" rtl="0" eaLnBrk="1" latinLnBrk="0" hangingPunct="1">
        <a:defRPr sz="1765" kern="1200">
          <a:solidFill>
            <a:schemeClr val="tx1"/>
          </a:solidFill>
          <a:latin typeface="+mn-lt"/>
          <a:ea typeface="+mn-ea"/>
          <a:cs typeface="+mn-cs"/>
        </a:defRPr>
      </a:lvl1pPr>
      <a:lvl2pPr marL="456922" algn="l" defTabSz="913844" rtl="0" eaLnBrk="1" latinLnBrk="0" hangingPunct="1">
        <a:defRPr sz="1765" kern="1200">
          <a:solidFill>
            <a:schemeClr val="tx1"/>
          </a:solidFill>
          <a:latin typeface="+mn-lt"/>
          <a:ea typeface="+mn-ea"/>
          <a:cs typeface="+mn-cs"/>
        </a:defRPr>
      </a:lvl2pPr>
      <a:lvl3pPr marL="913844" algn="l" defTabSz="913844" rtl="0" eaLnBrk="1" latinLnBrk="0" hangingPunct="1">
        <a:defRPr sz="1765" kern="1200">
          <a:solidFill>
            <a:schemeClr val="tx1"/>
          </a:solidFill>
          <a:latin typeface="+mn-lt"/>
          <a:ea typeface="+mn-ea"/>
          <a:cs typeface="+mn-cs"/>
        </a:defRPr>
      </a:lvl3pPr>
      <a:lvl4pPr marL="1370765" algn="l" defTabSz="913844" rtl="0" eaLnBrk="1" latinLnBrk="0" hangingPunct="1">
        <a:defRPr sz="1765" kern="1200">
          <a:solidFill>
            <a:schemeClr val="tx1"/>
          </a:solidFill>
          <a:latin typeface="+mn-lt"/>
          <a:ea typeface="+mn-ea"/>
          <a:cs typeface="+mn-cs"/>
        </a:defRPr>
      </a:lvl4pPr>
      <a:lvl5pPr marL="1827688" algn="l" defTabSz="913844" rtl="0" eaLnBrk="1" latinLnBrk="0" hangingPunct="1">
        <a:defRPr sz="1765" kern="1200">
          <a:solidFill>
            <a:schemeClr val="tx1"/>
          </a:solidFill>
          <a:latin typeface="+mn-lt"/>
          <a:ea typeface="+mn-ea"/>
          <a:cs typeface="+mn-cs"/>
        </a:defRPr>
      </a:lvl5pPr>
      <a:lvl6pPr marL="2284611" algn="l" defTabSz="913844" rtl="0" eaLnBrk="1" latinLnBrk="0" hangingPunct="1">
        <a:defRPr sz="1765" kern="1200">
          <a:solidFill>
            <a:schemeClr val="tx1"/>
          </a:solidFill>
          <a:latin typeface="+mn-lt"/>
          <a:ea typeface="+mn-ea"/>
          <a:cs typeface="+mn-cs"/>
        </a:defRPr>
      </a:lvl6pPr>
      <a:lvl7pPr marL="2741532" algn="l" defTabSz="913844" rtl="0" eaLnBrk="1" latinLnBrk="0" hangingPunct="1">
        <a:defRPr sz="1765" kern="1200">
          <a:solidFill>
            <a:schemeClr val="tx1"/>
          </a:solidFill>
          <a:latin typeface="+mn-lt"/>
          <a:ea typeface="+mn-ea"/>
          <a:cs typeface="+mn-cs"/>
        </a:defRPr>
      </a:lvl7pPr>
      <a:lvl8pPr marL="3198453" algn="l" defTabSz="913844" rtl="0" eaLnBrk="1" latinLnBrk="0" hangingPunct="1">
        <a:defRPr sz="1765" kern="1200">
          <a:solidFill>
            <a:schemeClr val="tx1"/>
          </a:solidFill>
          <a:latin typeface="+mn-lt"/>
          <a:ea typeface="+mn-ea"/>
          <a:cs typeface="+mn-cs"/>
        </a:defRPr>
      </a:lvl8pPr>
      <a:lvl9pPr marL="3655378" algn="l" defTabSz="913844"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274643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Lst>
  <p:transition>
    <p:fade/>
  </p:transition>
  <p:timing>
    <p:tnLst>
      <p:par>
        <p:cTn id="1" dur="indefinite" restart="never" nodeType="tmRoot"/>
      </p:par>
    </p:tnLst>
  </p:timing>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1.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2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7.png"/><Relationship Id="rId7"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91.xml"/><Relationship Id="rId6" Type="http://schemas.openxmlformats.org/officeDocument/2006/relationships/image" Target="../media/image39.png"/><Relationship Id="rId5" Type="http://schemas.microsoft.com/office/2007/relationships/hdphoto" Target="../media/hdphoto4.wdp"/><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84.xml"/><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28.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1.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image" Target="../media/image28.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1.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69.xml"/><Relationship Id="rId6" Type="http://schemas.microsoft.com/office/2007/relationships/hdphoto" Target="../media/hdphoto2.wdp"/><Relationship Id="rId5" Type="http://schemas.openxmlformats.org/officeDocument/2006/relationships/image" Target="../media/image31.png"/><Relationship Id="rId10" Type="http://schemas.openxmlformats.org/officeDocument/2006/relationships/image" Target="../media/image34.png"/><Relationship Id="rId4" Type="http://schemas.openxmlformats.org/officeDocument/2006/relationships/image" Target="../media/image30.png"/><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35.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60" y="2045"/>
          <a:ext cx="1556" cy="1556"/>
        </p:xfrm>
        <a:graphic>
          <a:graphicData uri="http://schemas.openxmlformats.org/presentationml/2006/ole">
            <mc:AlternateContent xmlns:mc="http://schemas.openxmlformats.org/markup-compatibility/2006">
              <mc:Choice xmlns:v="urn:schemas-microsoft-com:vml" Requires="v">
                <p:oleObj spid="_x0000_s20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60" y="2045"/>
                        <a:ext cx="1556" cy="1556"/>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smtClean="0"/>
              <a:t>Microsoft Azure Government</a:t>
            </a:r>
            <a:br>
              <a:rPr lang="en-US" dirty="0" smtClean="0"/>
            </a:br>
            <a:r>
              <a:rPr lang="en-US" sz="3921" spc="0" dirty="0"/>
              <a:t>Technical overview</a:t>
            </a:r>
            <a:endParaRPr lang="en-US" sz="3921" spc="0" dirty="0"/>
          </a:p>
        </p:txBody>
      </p:sp>
    </p:spTree>
    <p:extLst>
      <p:ext uri="{BB962C8B-B14F-4D97-AF65-F5344CB8AC3E}">
        <p14:creationId xmlns:p14="http://schemas.microsoft.com/office/powerpoint/2010/main" val="2539988673"/>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nvPr>
        </p:nvGraphicFramePr>
        <p:xfrm>
          <a:off x="1560" y="2045"/>
          <a:ext cx="1556" cy="1556"/>
        </p:xfrm>
        <a:graphic>
          <a:graphicData uri="http://schemas.openxmlformats.org/presentationml/2006/ole">
            <mc:AlternateContent xmlns:mc="http://schemas.openxmlformats.org/markup-compatibility/2006">
              <mc:Choice xmlns:v="urn:schemas-microsoft-com:vml" Requires="v">
                <p:oleObj spid="_x0000_s245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60" y="2045"/>
                        <a:ext cx="1556" cy="1556"/>
                      </a:xfrm>
                      <a:prstGeom prst="rect">
                        <a:avLst/>
                      </a:prstGeom>
                    </p:spPr>
                  </p:pic>
                </p:oleObj>
              </mc:Fallback>
            </mc:AlternateContent>
          </a:graphicData>
        </a:graphic>
      </p:graphicFrame>
      <p:grpSp>
        <p:nvGrpSpPr>
          <p:cNvPr id="10" name="Group 9"/>
          <p:cNvGrpSpPr/>
          <p:nvPr/>
        </p:nvGrpSpPr>
        <p:grpSpPr>
          <a:xfrm>
            <a:off x="4221" y="5417167"/>
            <a:ext cx="12191377" cy="1445476"/>
            <a:chOff x="4305" y="5525295"/>
            <a:chExt cx="12435840" cy="1474461"/>
          </a:xfrm>
        </p:grpSpPr>
        <p:sp>
          <p:nvSpPr>
            <p:cNvPr id="105" name="Freeform 58"/>
            <p:cNvSpPr>
              <a:spLocks/>
            </p:cNvSpPr>
            <p:nvPr/>
          </p:nvSpPr>
          <p:spPr bwMode="auto">
            <a:xfrm>
              <a:off x="4305" y="6931627"/>
              <a:ext cx="12435840" cy="60325"/>
            </a:xfrm>
            <a:custGeom>
              <a:avLst/>
              <a:gdLst>
                <a:gd name="T0" fmla="*/ 1830 w 1830"/>
                <a:gd name="T1" fmla="*/ 0 h 83"/>
                <a:gd name="T2" fmla="*/ 1830 w 1830"/>
                <a:gd name="T3" fmla="*/ 0 h 83"/>
                <a:gd name="T4" fmla="*/ 0 w 1830"/>
                <a:gd name="T5" fmla="*/ 0 h 83"/>
                <a:gd name="T6" fmla="*/ 0 w 1830"/>
                <a:gd name="T7" fmla="*/ 83 h 83"/>
                <a:gd name="T8" fmla="*/ 1830 w 1830"/>
                <a:gd name="T9" fmla="*/ 83 h 83"/>
                <a:gd name="T10" fmla="*/ 1830 w 1830"/>
                <a:gd name="T11" fmla="*/ 0 h 83"/>
              </a:gdLst>
              <a:ahLst/>
              <a:cxnLst>
                <a:cxn ang="0">
                  <a:pos x="T0" y="T1"/>
                </a:cxn>
                <a:cxn ang="0">
                  <a:pos x="T2" y="T3"/>
                </a:cxn>
                <a:cxn ang="0">
                  <a:pos x="T4" y="T5"/>
                </a:cxn>
                <a:cxn ang="0">
                  <a:pos x="T6" y="T7"/>
                </a:cxn>
                <a:cxn ang="0">
                  <a:pos x="T8" y="T9"/>
                </a:cxn>
                <a:cxn ang="0">
                  <a:pos x="T10" y="T11"/>
                </a:cxn>
              </a:cxnLst>
              <a:rect l="0" t="0" r="r" b="b"/>
              <a:pathLst>
                <a:path w="1830" h="83">
                  <a:moveTo>
                    <a:pt x="1830" y="0"/>
                  </a:moveTo>
                  <a:lnTo>
                    <a:pt x="1830" y="0"/>
                  </a:lnTo>
                  <a:lnTo>
                    <a:pt x="0" y="0"/>
                  </a:lnTo>
                  <a:lnTo>
                    <a:pt x="0" y="83"/>
                  </a:lnTo>
                  <a:lnTo>
                    <a:pt x="1830" y="83"/>
                  </a:lnTo>
                  <a:lnTo>
                    <a:pt x="1830" y="0"/>
                  </a:lnTo>
                  <a:close/>
                </a:path>
              </a:pathLst>
            </a:custGeom>
            <a:solidFill>
              <a:srgbClr val="7FBA00"/>
            </a:solidFill>
            <a:ln w="0">
              <a:noFill/>
              <a:prstDash val="solid"/>
              <a:round/>
              <a:headEnd/>
              <a:tailEnd/>
            </a:ln>
          </p:spPr>
          <p:txBody>
            <a:bodyPr vert="horz" wrap="square" lIns="89642" tIns="44821" rIns="89642" bIns="44821" numCol="1" anchor="t" anchorCtr="0" compatLnSpc="1">
              <a:prstTxWarp prst="textNoShape">
                <a:avLst/>
              </a:prstTxWarp>
            </a:bodyPr>
            <a:lstStyle/>
            <a:p>
              <a:pPr defTabSz="913844"/>
              <a:endParaRPr lang="en-IN" sz="1765">
                <a:solidFill>
                  <a:srgbClr val="000000"/>
                </a:solidFill>
              </a:endParaRPr>
            </a:p>
          </p:txBody>
        </p:sp>
        <p:sp>
          <p:nvSpPr>
            <p:cNvPr id="106" name="Freeform 11"/>
            <p:cNvSpPr>
              <a:spLocks/>
            </p:cNvSpPr>
            <p:nvPr/>
          </p:nvSpPr>
          <p:spPr bwMode="auto">
            <a:xfrm flipH="1">
              <a:off x="3639215" y="6549872"/>
              <a:ext cx="2838178" cy="449883"/>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7" name="Freeform 11"/>
            <p:cNvSpPr>
              <a:spLocks/>
            </p:cNvSpPr>
            <p:nvPr/>
          </p:nvSpPr>
          <p:spPr bwMode="auto">
            <a:xfrm>
              <a:off x="1313728" y="6325570"/>
              <a:ext cx="3230726" cy="672385"/>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IN" sz="1765">
                <a:solidFill>
                  <a:srgbClr val="000000"/>
                </a:solidFill>
              </a:endParaRPr>
            </a:p>
          </p:txBody>
        </p:sp>
        <p:grpSp>
          <p:nvGrpSpPr>
            <p:cNvPr id="108" name="Group 107"/>
            <p:cNvGrpSpPr/>
            <p:nvPr/>
          </p:nvGrpSpPr>
          <p:grpSpPr>
            <a:xfrm>
              <a:off x="2708843" y="5731984"/>
              <a:ext cx="304335" cy="688278"/>
              <a:chOff x="6197506" y="5731984"/>
              <a:chExt cx="304335" cy="688278"/>
            </a:xfrm>
          </p:grpSpPr>
          <p:sp>
            <p:nvSpPr>
              <p:cNvPr id="117" name="Rectangle 116"/>
              <p:cNvSpPr>
                <a:spLocks noChangeArrowheads="1"/>
              </p:cNvSpPr>
              <p:nvPr/>
            </p:nvSpPr>
            <p:spPr bwMode="auto">
              <a:xfrm flipH="1">
                <a:off x="6320409" y="6156889"/>
                <a:ext cx="62428" cy="26337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8" name="Oval 117"/>
              <p:cNvSpPr>
                <a:spLocks noChangeArrowheads="1"/>
              </p:cNvSpPr>
              <p:nvPr/>
            </p:nvSpPr>
            <p:spPr bwMode="auto">
              <a:xfrm flipH="1">
                <a:off x="6197506" y="5912067"/>
                <a:ext cx="304335" cy="351163"/>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9" name="Oval 118"/>
              <p:cNvSpPr>
                <a:spLocks noChangeArrowheads="1"/>
              </p:cNvSpPr>
              <p:nvPr/>
            </p:nvSpPr>
            <p:spPr bwMode="auto">
              <a:xfrm flipH="1">
                <a:off x="6236523" y="5731984"/>
                <a:ext cx="226300" cy="256619"/>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grpSp>
        <p:grpSp>
          <p:nvGrpSpPr>
            <p:cNvPr id="109" name="Group 108"/>
            <p:cNvGrpSpPr/>
            <p:nvPr/>
          </p:nvGrpSpPr>
          <p:grpSpPr>
            <a:xfrm>
              <a:off x="1828072" y="5898695"/>
              <a:ext cx="304335" cy="784940"/>
              <a:chOff x="5316735" y="5898695"/>
              <a:chExt cx="304335" cy="784940"/>
            </a:xfrm>
          </p:grpSpPr>
          <p:sp>
            <p:nvSpPr>
              <p:cNvPr id="114" name="Rectangle 113"/>
              <p:cNvSpPr>
                <a:spLocks noChangeArrowheads="1"/>
              </p:cNvSpPr>
              <p:nvPr/>
            </p:nvSpPr>
            <p:spPr bwMode="auto">
              <a:xfrm flipH="1">
                <a:off x="5456002" y="6420262"/>
                <a:ext cx="60476" cy="26337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5" name="Oval 114"/>
              <p:cNvSpPr>
                <a:spLocks noChangeArrowheads="1"/>
              </p:cNvSpPr>
              <p:nvPr/>
            </p:nvSpPr>
            <p:spPr bwMode="auto">
              <a:xfrm flipH="1">
                <a:off x="5316735" y="6078778"/>
                <a:ext cx="304335" cy="351163"/>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6" name="Oval 115"/>
              <p:cNvSpPr>
                <a:spLocks noChangeArrowheads="1"/>
              </p:cNvSpPr>
              <p:nvPr/>
            </p:nvSpPr>
            <p:spPr bwMode="auto">
              <a:xfrm flipH="1">
                <a:off x="5355752" y="5898695"/>
                <a:ext cx="226300" cy="256619"/>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grpSp>
        <p:grpSp>
          <p:nvGrpSpPr>
            <p:cNvPr id="110" name="Group 109"/>
            <p:cNvGrpSpPr/>
            <p:nvPr/>
          </p:nvGrpSpPr>
          <p:grpSpPr>
            <a:xfrm>
              <a:off x="4974577" y="5993280"/>
              <a:ext cx="304335" cy="688278"/>
              <a:chOff x="6191404" y="5854149"/>
              <a:chExt cx="304335" cy="688278"/>
            </a:xfrm>
          </p:grpSpPr>
          <p:sp>
            <p:nvSpPr>
              <p:cNvPr id="111" name="Rectangle 110"/>
              <p:cNvSpPr>
                <a:spLocks noChangeArrowheads="1"/>
              </p:cNvSpPr>
              <p:nvPr/>
            </p:nvSpPr>
            <p:spPr bwMode="auto">
              <a:xfrm flipH="1">
                <a:off x="6314307" y="6279054"/>
                <a:ext cx="62428" cy="263373"/>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2" name="Oval 111"/>
              <p:cNvSpPr>
                <a:spLocks noChangeArrowheads="1"/>
              </p:cNvSpPr>
              <p:nvPr/>
            </p:nvSpPr>
            <p:spPr bwMode="auto">
              <a:xfrm flipH="1">
                <a:off x="6191404" y="6034232"/>
                <a:ext cx="304335" cy="351163"/>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sp>
            <p:nvSpPr>
              <p:cNvPr id="113" name="Oval 112"/>
              <p:cNvSpPr>
                <a:spLocks noChangeArrowheads="1"/>
              </p:cNvSpPr>
              <p:nvPr/>
            </p:nvSpPr>
            <p:spPr bwMode="auto">
              <a:xfrm flipH="1">
                <a:off x="6230421" y="5854149"/>
                <a:ext cx="226300" cy="256619"/>
              </a:xfrm>
              <a:prstGeom prst="ellipse">
                <a:avLst/>
              </a:prstGeom>
              <a:solidFill>
                <a:srgbClr val="97CC00"/>
              </a:solidFill>
              <a:ln>
                <a:noFill/>
              </a:ln>
              <a:extLst/>
            </p:spPr>
            <p:txBody>
              <a:bodyPr vert="horz" wrap="square" lIns="87868" tIns="43933" rIns="87868" bIns="43933"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sz="1765">
                  <a:solidFill>
                    <a:srgbClr val="000000"/>
                  </a:solidFill>
                </a:endParaRPr>
              </a:p>
            </p:txBody>
          </p:sp>
        </p:grpSp>
        <p:sp>
          <p:nvSpPr>
            <p:cNvPr id="132" name="Freeform 11"/>
            <p:cNvSpPr>
              <a:spLocks/>
            </p:cNvSpPr>
            <p:nvPr/>
          </p:nvSpPr>
          <p:spPr bwMode="auto">
            <a:xfrm flipH="1">
              <a:off x="9598297" y="6418186"/>
              <a:ext cx="2838178" cy="581570"/>
            </a:xfrm>
            <a:custGeom>
              <a:avLst/>
              <a:gdLst>
                <a:gd name="T0" fmla="*/ 408 w 661"/>
                <a:gd name="T1" fmla="*/ 25 h 155"/>
                <a:gd name="T2" fmla="*/ 408 w 661"/>
                <a:gd name="T3" fmla="*/ 25 h 155"/>
                <a:gd name="T4" fmla="*/ 0 w 661"/>
                <a:gd name="T5" fmla="*/ 155 h 155"/>
                <a:gd name="T6" fmla="*/ 234 w 661"/>
                <a:gd name="T7" fmla="*/ 155 h 155"/>
                <a:gd name="T8" fmla="*/ 661 w 661"/>
                <a:gd name="T9" fmla="*/ 155 h 155"/>
                <a:gd name="T10" fmla="*/ 408 w 661"/>
                <a:gd name="T11" fmla="*/ 25 h 155"/>
              </a:gdLst>
              <a:ahLst/>
              <a:cxnLst>
                <a:cxn ang="0">
                  <a:pos x="T0" y="T1"/>
                </a:cxn>
                <a:cxn ang="0">
                  <a:pos x="T2" y="T3"/>
                </a:cxn>
                <a:cxn ang="0">
                  <a:pos x="T4" y="T5"/>
                </a:cxn>
                <a:cxn ang="0">
                  <a:pos x="T6" y="T7"/>
                </a:cxn>
                <a:cxn ang="0">
                  <a:pos x="T8" y="T9"/>
                </a:cxn>
                <a:cxn ang="0">
                  <a:pos x="T10" y="T11"/>
                </a:cxn>
              </a:cxnLst>
              <a:rect l="0" t="0" r="r" b="b"/>
              <a:pathLst>
                <a:path w="661" h="155">
                  <a:moveTo>
                    <a:pt x="408" y="25"/>
                  </a:moveTo>
                  <a:cubicBezTo>
                    <a:pt x="408" y="25"/>
                    <a:pt x="408" y="25"/>
                    <a:pt x="408" y="25"/>
                  </a:cubicBezTo>
                  <a:cubicBezTo>
                    <a:pt x="264" y="0"/>
                    <a:pt x="111" y="44"/>
                    <a:pt x="0" y="155"/>
                  </a:cubicBezTo>
                  <a:cubicBezTo>
                    <a:pt x="234" y="155"/>
                    <a:pt x="234" y="155"/>
                    <a:pt x="234" y="155"/>
                  </a:cubicBezTo>
                  <a:cubicBezTo>
                    <a:pt x="661" y="155"/>
                    <a:pt x="661" y="155"/>
                    <a:pt x="661" y="155"/>
                  </a:cubicBezTo>
                  <a:cubicBezTo>
                    <a:pt x="589" y="84"/>
                    <a:pt x="501" y="40"/>
                    <a:pt x="408" y="25"/>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98" name="Rectangle 97"/>
            <p:cNvSpPr/>
            <p:nvPr/>
          </p:nvSpPr>
          <p:spPr bwMode="auto">
            <a:xfrm>
              <a:off x="9437854" y="5769187"/>
              <a:ext cx="851199" cy="1213638"/>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8825020" y="5525295"/>
              <a:ext cx="851199" cy="145580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6"/>
            <p:cNvSpPr>
              <a:spLocks noChangeArrowheads="1"/>
            </p:cNvSpPr>
            <p:nvPr/>
          </p:nvSpPr>
          <p:spPr bwMode="auto">
            <a:xfrm flipH="1">
              <a:off x="9362197" y="6216824"/>
              <a:ext cx="822960" cy="777704"/>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1" name="Rectangle 7"/>
            <p:cNvSpPr>
              <a:spLocks noChangeArrowheads="1"/>
            </p:cNvSpPr>
            <p:nvPr/>
          </p:nvSpPr>
          <p:spPr bwMode="auto">
            <a:xfrm flipH="1">
              <a:off x="9314092" y="6180564"/>
              <a:ext cx="939392" cy="3741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nvGrpSpPr>
            <p:cNvPr id="9" name="Group 8"/>
            <p:cNvGrpSpPr/>
            <p:nvPr/>
          </p:nvGrpSpPr>
          <p:grpSpPr>
            <a:xfrm>
              <a:off x="9599963" y="6739121"/>
              <a:ext cx="347428" cy="248545"/>
              <a:chOff x="9676219" y="6739121"/>
              <a:chExt cx="347428" cy="248545"/>
            </a:xfrm>
          </p:grpSpPr>
          <p:sp>
            <p:nvSpPr>
              <p:cNvPr id="102" name="Rectangle 8"/>
              <p:cNvSpPr>
                <a:spLocks noChangeArrowheads="1"/>
              </p:cNvSpPr>
              <p:nvPr/>
            </p:nvSpPr>
            <p:spPr bwMode="auto">
              <a:xfrm flipH="1">
                <a:off x="9676219" y="6739121"/>
                <a:ext cx="128281" cy="24854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3" name="Rectangle 9"/>
              <p:cNvSpPr>
                <a:spLocks noChangeArrowheads="1"/>
              </p:cNvSpPr>
              <p:nvPr/>
            </p:nvSpPr>
            <p:spPr bwMode="auto">
              <a:xfrm flipH="1">
                <a:off x="9898038" y="6739121"/>
                <a:ext cx="125609" cy="24854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sp>
          <p:nvSpPr>
            <p:cNvPr id="120" name="Rectangle 10"/>
            <p:cNvSpPr>
              <a:spLocks noChangeArrowheads="1"/>
            </p:cNvSpPr>
            <p:nvPr/>
          </p:nvSpPr>
          <p:spPr bwMode="auto">
            <a:xfrm flipH="1">
              <a:off x="9444057" y="6314190"/>
              <a:ext cx="659240" cy="125609"/>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1" name="Rectangle 11"/>
            <p:cNvSpPr>
              <a:spLocks noChangeArrowheads="1"/>
            </p:cNvSpPr>
            <p:nvPr/>
          </p:nvSpPr>
          <p:spPr bwMode="auto">
            <a:xfrm flipH="1">
              <a:off x="9444057" y="6533337"/>
              <a:ext cx="659240" cy="128281"/>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2" name="Rectangle 12"/>
            <p:cNvSpPr>
              <a:spLocks noChangeArrowheads="1"/>
            </p:cNvSpPr>
            <p:nvPr/>
          </p:nvSpPr>
          <p:spPr bwMode="auto">
            <a:xfrm flipH="1">
              <a:off x="8276962" y="5776051"/>
              <a:ext cx="979480" cy="1218477"/>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3" name="Rectangle 13"/>
            <p:cNvSpPr>
              <a:spLocks noChangeArrowheads="1"/>
            </p:cNvSpPr>
            <p:nvPr/>
          </p:nvSpPr>
          <p:spPr bwMode="auto">
            <a:xfrm flipH="1">
              <a:off x="8228857" y="5743185"/>
              <a:ext cx="1078363" cy="3741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4" name="Rectangle 14"/>
            <p:cNvSpPr>
              <a:spLocks noChangeArrowheads="1"/>
            </p:cNvSpPr>
            <p:nvPr/>
          </p:nvSpPr>
          <p:spPr bwMode="auto">
            <a:xfrm flipH="1">
              <a:off x="8589648" y="6739121"/>
              <a:ext cx="128281" cy="24854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5" name="Rectangle 15"/>
            <p:cNvSpPr>
              <a:spLocks noChangeArrowheads="1"/>
            </p:cNvSpPr>
            <p:nvPr/>
          </p:nvSpPr>
          <p:spPr bwMode="auto">
            <a:xfrm flipH="1">
              <a:off x="8812803" y="6739121"/>
              <a:ext cx="128281" cy="24854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6" name="Rectangle 16"/>
            <p:cNvSpPr>
              <a:spLocks noChangeArrowheads="1"/>
            </p:cNvSpPr>
            <p:nvPr/>
          </p:nvSpPr>
          <p:spPr bwMode="auto">
            <a:xfrm flipH="1">
              <a:off x="8367828" y="5874560"/>
              <a:ext cx="792403" cy="128281"/>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7" name="Rectangle 17"/>
            <p:cNvSpPr>
              <a:spLocks noChangeArrowheads="1"/>
            </p:cNvSpPr>
            <p:nvPr/>
          </p:nvSpPr>
          <p:spPr bwMode="auto">
            <a:xfrm flipH="1">
              <a:off x="8367828" y="6092370"/>
              <a:ext cx="792403" cy="128281"/>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8" name="Rectangle 18"/>
            <p:cNvSpPr>
              <a:spLocks noChangeArrowheads="1"/>
            </p:cNvSpPr>
            <p:nvPr/>
          </p:nvSpPr>
          <p:spPr bwMode="auto">
            <a:xfrm flipH="1">
              <a:off x="8367828" y="6314190"/>
              <a:ext cx="792403" cy="125609"/>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9" name="Rectangle 19"/>
            <p:cNvSpPr>
              <a:spLocks noChangeArrowheads="1"/>
            </p:cNvSpPr>
            <p:nvPr/>
          </p:nvSpPr>
          <p:spPr bwMode="auto">
            <a:xfrm flipH="1">
              <a:off x="8367828" y="6533337"/>
              <a:ext cx="792403" cy="128281"/>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0" name="Rectangle 22"/>
            <p:cNvSpPr>
              <a:spLocks noChangeArrowheads="1"/>
            </p:cNvSpPr>
            <p:nvPr/>
          </p:nvSpPr>
          <p:spPr bwMode="auto">
            <a:xfrm flipH="1">
              <a:off x="8437315" y="5590851"/>
              <a:ext cx="117591" cy="152334"/>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1" name="Rectangle 23"/>
            <p:cNvSpPr>
              <a:spLocks noChangeArrowheads="1"/>
            </p:cNvSpPr>
            <p:nvPr/>
          </p:nvSpPr>
          <p:spPr bwMode="auto">
            <a:xfrm flipH="1">
              <a:off x="8594993" y="5590851"/>
              <a:ext cx="117591" cy="152334"/>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96" name="Rectangle 94"/>
            <p:cNvSpPr/>
            <p:nvPr/>
          </p:nvSpPr>
          <p:spPr>
            <a:xfrm>
              <a:off x="7365346" y="6249899"/>
              <a:ext cx="778723" cy="709686"/>
            </a:xfrm>
            <a:custGeom>
              <a:avLst/>
              <a:gdLst/>
              <a:ahLst/>
              <a:cxnLst/>
              <a:rect l="l" t="t" r="r" b="b"/>
              <a:pathLst>
                <a:path w="1267189" h="1154849">
                  <a:moveTo>
                    <a:pt x="595670" y="839740"/>
                  </a:moveTo>
                  <a:lnTo>
                    <a:pt x="595670" y="1016122"/>
                  </a:lnTo>
                  <a:lnTo>
                    <a:pt x="708957" y="1016122"/>
                  </a:lnTo>
                  <a:lnTo>
                    <a:pt x="708957" y="839740"/>
                  </a:lnTo>
                  <a:close/>
                  <a:moveTo>
                    <a:pt x="617742" y="447171"/>
                  </a:moveTo>
                  <a:cubicBezTo>
                    <a:pt x="598034" y="447171"/>
                    <a:pt x="582057" y="463148"/>
                    <a:pt x="582057" y="482855"/>
                  </a:cubicBezTo>
                  <a:cubicBezTo>
                    <a:pt x="582057" y="494698"/>
                    <a:pt x="587826" y="505193"/>
                    <a:pt x="596767" y="511601"/>
                  </a:cubicBezTo>
                  <a:lnTo>
                    <a:pt x="576415" y="584600"/>
                  </a:lnTo>
                  <a:lnTo>
                    <a:pt x="659068" y="584600"/>
                  </a:lnTo>
                  <a:lnTo>
                    <a:pt x="639809" y="510700"/>
                  </a:lnTo>
                  <a:cubicBezTo>
                    <a:pt x="648144" y="504286"/>
                    <a:pt x="653426" y="494188"/>
                    <a:pt x="653426" y="482855"/>
                  </a:cubicBezTo>
                  <a:cubicBezTo>
                    <a:pt x="653426" y="463148"/>
                    <a:pt x="637450" y="447171"/>
                    <a:pt x="617742" y="447171"/>
                  </a:cubicBezTo>
                  <a:close/>
                  <a:moveTo>
                    <a:pt x="585369" y="176595"/>
                  </a:moveTo>
                  <a:cubicBezTo>
                    <a:pt x="538363" y="176595"/>
                    <a:pt x="500256" y="214702"/>
                    <a:pt x="500256" y="261708"/>
                  </a:cubicBezTo>
                  <a:lnTo>
                    <a:pt x="500256" y="388932"/>
                  </a:lnTo>
                  <a:lnTo>
                    <a:pt x="735227" y="388932"/>
                  </a:lnTo>
                  <a:lnTo>
                    <a:pt x="735227" y="261708"/>
                  </a:lnTo>
                  <a:cubicBezTo>
                    <a:pt x="735227" y="214702"/>
                    <a:pt x="697120" y="176595"/>
                    <a:pt x="650114" y="176595"/>
                  </a:cubicBezTo>
                  <a:close/>
                  <a:moveTo>
                    <a:pt x="582148" y="133916"/>
                  </a:moveTo>
                  <a:lnTo>
                    <a:pt x="653336" y="133916"/>
                  </a:lnTo>
                  <a:cubicBezTo>
                    <a:pt x="723758" y="133916"/>
                    <a:pt x="780845" y="191003"/>
                    <a:pt x="780845" y="261425"/>
                  </a:cubicBezTo>
                  <a:lnTo>
                    <a:pt x="780845" y="388933"/>
                  </a:lnTo>
                  <a:lnTo>
                    <a:pt x="791968" y="388933"/>
                  </a:lnTo>
                  <a:cubicBezTo>
                    <a:pt x="813982" y="388933"/>
                    <a:pt x="831828" y="406779"/>
                    <a:pt x="831828" y="428793"/>
                  </a:cubicBezTo>
                  <a:lnTo>
                    <a:pt x="831828" y="630372"/>
                  </a:lnTo>
                  <a:cubicBezTo>
                    <a:pt x="831828" y="652386"/>
                    <a:pt x="813982" y="670232"/>
                    <a:pt x="791968" y="670232"/>
                  </a:cubicBezTo>
                  <a:lnTo>
                    <a:pt x="443515" y="670232"/>
                  </a:lnTo>
                  <a:cubicBezTo>
                    <a:pt x="421501" y="670232"/>
                    <a:pt x="403655" y="652386"/>
                    <a:pt x="403655" y="630372"/>
                  </a:cubicBezTo>
                  <a:lnTo>
                    <a:pt x="403655" y="428793"/>
                  </a:lnTo>
                  <a:cubicBezTo>
                    <a:pt x="403655" y="406779"/>
                    <a:pt x="421501" y="388933"/>
                    <a:pt x="443515" y="388933"/>
                  </a:cubicBezTo>
                  <a:lnTo>
                    <a:pt x="454638" y="388933"/>
                  </a:lnTo>
                  <a:lnTo>
                    <a:pt x="454638" y="261425"/>
                  </a:lnTo>
                  <a:cubicBezTo>
                    <a:pt x="454638" y="191003"/>
                    <a:pt x="511726" y="133916"/>
                    <a:pt x="582148" y="133916"/>
                  </a:cubicBezTo>
                  <a:close/>
                  <a:moveTo>
                    <a:pt x="67649" y="69523"/>
                  </a:moveTo>
                  <a:lnTo>
                    <a:pt x="67649" y="770217"/>
                  </a:lnTo>
                  <a:lnTo>
                    <a:pt x="1199541" y="770217"/>
                  </a:lnTo>
                  <a:lnTo>
                    <a:pt x="1199541" y="69523"/>
                  </a:lnTo>
                  <a:close/>
                  <a:moveTo>
                    <a:pt x="0" y="0"/>
                  </a:moveTo>
                  <a:lnTo>
                    <a:pt x="1267189" y="0"/>
                  </a:lnTo>
                  <a:lnTo>
                    <a:pt x="1267189" y="839740"/>
                  </a:lnTo>
                  <a:lnTo>
                    <a:pt x="784731" y="839740"/>
                  </a:lnTo>
                  <a:lnTo>
                    <a:pt x="784731" y="1016122"/>
                  </a:lnTo>
                  <a:lnTo>
                    <a:pt x="1047913" y="1016122"/>
                  </a:lnTo>
                  <a:lnTo>
                    <a:pt x="1047913" y="1154849"/>
                  </a:lnTo>
                  <a:lnTo>
                    <a:pt x="256713" y="1154849"/>
                  </a:lnTo>
                  <a:lnTo>
                    <a:pt x="256713" y="1016122"/>
                  </a:lnTo>
                  <a:lnTo>
                    <a:pt x="519895" y="1016122"/>
                  </a:lnTo>
                  <a:lnTo>
                    <a:pt x="519895" y="839740"/>
                  </a:lnTo>
                  <a:lnTo>
                    <a:pt x="0" y="839740"/>
                  </a:lnTo>
                  <a:close/>
                </a:path>
              </a:pathLst>
            </a:custGeom>
            <a:solidFill>
              <a:schemeClr val="accent6"/>
            </a:solidFill>
            <a:ln>
              <a:noFill/>
            </a:ln>
          </p:spPr>
          <p:txBody>
            <a:bodyPr vert="horz" wrap="square" lIns="89642" tIns="44821" rIns="89642" bIns="44821" numCol="1" anchor="t" anchorCtr="0" compatLnSpc="1">
              <a:prstTxWarp prst="textNoShape">
                <a:avLst/>
              </a:prstTxWarp>
            </a:bodyPr>
            <a:lstStyle/>
            <a:p>
              <a:pPr defTabSz="913844"/>
              <a:endParaRPr lang="en-US" sz="1765">
                <a:solidFill>
                  <a:srgbClr val="FFFFFF"/>
                </a:solidFill>
              </a:endParaRPr>
            </a:p>
          </p:txBody>
        </p:sp>
        <p:sp>
          <p:nvSpPr>
            <p:cNvPr id="64" name="Freeform 11"/>
            <p:cNvSpPr>
              <a:spLocks/>
            </p:cNvSpPr>
            <p:nvPr/>
          </p:nvSpPr>
          <p:spPr bwMode="auto">
            <a:xfrm>
              <a:off x="110408" y="6501366"/>
              <a:ext cx="2386049" cy="496589"/>
            </a:xfrm>
            <a:custGeom>
              <a:avLst/>
              <a:gdLst>
                <a:gd name="T0" fmla="*/ 491 w 795"/>
                <a:gd name="T1" fmla="*/ 8 h 165"/>
                <a:gd name="T2" fmla="*/ 483 w 795"/>
                <a:gd name="T3" fmla="*/ 7 h 165"/>
                <a:gd name="T4" fmla="*/ 461 w 795"/>
                <a:gd name="T5" fmla="*/ 4 h 165"/>
                <a:gd name="T6" fmla="*/ 417 w 795"/>
                <a:gd name="T7" fmla="*/ 1 h 165"/>
                <a:gd name="T8" fmla="*/ 393 w 795"/>
                <a:gd name="T9" fmla="*/ 0 h 165"/>
                <a:gd name="T10" fmla="*/ 0 w 795"/>
                <a:gd name="T11" fmla="*/ 165 h 165"/>
                <a:gd name="T12" fmla="*/ 282 w 795"/>
                <a:gd name="T13" fmla="*/ 165 h 165"/>
                <a:gd name="T14" fmla="*/ 795 w 795"/>
                <a:gd name="T15" fmla="*/ 165 h 165"/>
                <a:gd name="T16" fmla="*/ 491 w 795"/>
                <a:gd name="T17" fmla="*/ 8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5" h="165">
                  <a:moveTo>
                    <a:pt x="491" y="8"/>
                  </a:moveTo>
                  <a:cubicBezTo>
                    <a:pt x="488" y="7"/>
                    <a:pt x="486" y="7"/>
                    <a:pt x="483" y="7"/>
                  </a:cubicBezTo>
                  <a:cubicBezTo>
                    <a:pt x="476" y="6"/>
                    <a:pt x="468" y="5"/>
                    <a:pt x="461" y="4"/>
                  </a:cubicBezTo>
                  <a:cubicBezTo>
                    <a:pt x="446" y="2"/>
                    <a:pt x="432" y="1"/>
                    <a:pt x="417" y="1"/>
                  </a:cubicBezTo>
                  <a:cubicBezTo>
                    <a:pt x="409" y="0"/>
                    <a:pt x="401" y="0"/>
                    <a:pt x="393" y="0"/>
                  </a:cubicBezTo>
                  <a:cubicBezTo>
                    <a:pt x="251" y="1"/>
                    <a:pt x="109" y="56"/>
                    <a:pt x="0" y="165"/>
                  </a:cubicBezTo>
                  <a:cubicBezTo>
                    <a:pt x="282" y="165"/>
                    <a:pt x="282" y="165"/>
                    <a:pt x="282" y="165"/>
                  </a:cubicBezTo>
                  <a:cubicBezTo>
                    <a:pt x="795" y="165"/>
                    <a:pt x="795" y="165"/>
                    <a:pt x="795" y="165"/>
                  </a:cubicBezTo>
                  <a:cubicBezTo>
                    <a:pt x="709" y="79"/>
                    <a:pt x="602" y="27"/>
                    <a:pt x="491" y="8"/>
                  </a:cubicBez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IN" sz="1765">
                <a:solidFill>
                  <a:srgbClr val="000000"/>
                </a:solidFill>
              </a:endParaRPr>
            </a:p>
          </p:txBody>
        </p:sp>
      </p:grpSp>
      <p:grpSp>
        <p:nvGrpSpPr>
          <p:cNvPr id="7" name="Group 6"/>
          <p:cNvGrpSpPr/>
          <p:nvPr/>
        </p:nvGrpSpPr>
        <p:grpSpPr>
          <a:xfrm>
            <a:off x="568856" y="2663659"/>
            <a:ext cx="3630521" cy="2447240"/>
            <a:chOff x="551387" y="2716574"/>
            <a:chExt cx="3703320" cy="2496312"/>
          </a:xfrm>
        </p:grpSpPr>
        <p:sp>
          <p:nvSpPr>
            <p:cNvPr id="82" name="Rectangle 81"/>
            <p:cNvSpPr/>
            <p:nvPr/>
          </p:nvSpPr>
          <p:spPr bwMode="auto">
            <a:xfrm>
              <a:off x="551387" y="2716574"/>
              <a:ext cx="3703320" cy="2496312"/>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07571" tIns="89642" rIns="107571" bIns="89642" numCol="1" spcCol="0" rtlCol="0" fromWordArt="0" anchor="t" anchorCtr="0" forceAA="0" compatLnSpc="1">
              <a:prstTxWarp prst="textNoShape">
                <a:avLst/>
              </a:prstTxWarp>
              <a:noAutofit/>
            </a:bodyPr>
            <a:lstStyle/>
            <a:p>
              <a:pPr defTabSz="895616">
                <a:spcBef>
                  <a:spcPts val="588"/>
                </a:spcBef>
                <a:spcAft>
                  <a:spcPts val="392"/>
                </a:spcAft>
                <a:defRPr/>
              </a:pPr>
              <a:r>
                <a:rPr lang="en-US" sz="2353" kern="0" dirty="0">
                  <a:solidFill>
                    <a:srgbClr val="FFFFFF"/>
                  </a:solidFill>
                  <a:latin typeface="Segoe UI Light"/>
                </a:rPr>
                <a:t>Perimeter</a:t>
              </a:r>
            </a:p>
          </p:txBody>
        </p:sp>
        <p:sp>
          <p:nvSpPr>
            <p:cNvPr id="81" name="Rectangle 80"/>
            <p:cNvSpPr/>
            <p:nvPr/>
          </p:nvSpPr>
          <p:spPr bwMode="auto">
            <a:xfrm>
              <a:off x="551387" y="3304972"/>
              <a:ext cx="3703320" cy="1828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07571" tIns="71714" rIns="107571" bIns="71714" numCol="1" spcCol="0" rtlCol="0" fromWordArt="0" anchor="t" anchorCtr="0" forceAA="0" compatLnSpc="1">
              <a:prstTxWarp prst="textNoShape">
                <a:avLst/>
              </a:prstTxWarp>
              <a:noAutofit/>
            </a:bodyPr>
            <a:lstStyle/>
            <a:p>
              <a:pPr marL="223970" indent="-223970" defTabSz="895616">
                <a:spcBef>
                  <a:spcPts val="392"/>
                </a:spcBef>
                <a:buFont typeface="Arial" panose="020B0604020202020204" pitchFamily="34" charset="0"/>
                <a:buChar char="•"/>
                <a:defRPr/>
              </a:pPr>
              <a:r>
                <a:rPr lang="en-US" sz="1765" kern="0" dirty="0">
                  <a:solidFill>
                    <a:srgbClr val="505050"/>
                  </a:solidFill>
                  <a:ea typeface="Segoe UI" panose="020B0502040204020203" pitchFamily="34" charset="0"/>
                  <a:cs typeface="Segoe UI" panose="020B0502040204020203" pitchFamily="34" charset="0"/>
                </a:rPr>
                <a:t>24x7 </a:t>
              </a:r>
              <a:r>
                <a:rPr lang="en-US" sz="1765" kern="0" dirty="0">
                  <a:solidFill>
                    <a:srgbClr val="505050"/>
                  </a:solidFill>
                  <a:ea typeface="Segoe UI" panose="020B0502040204020203" pitchFamily="34" charset="0"/>
                  <a:cs typeface="Segoe UI" panose="020B0502040204020203" pitchFamily="34" charset="0"/>
                </a:rPr>
                <a:t>security </a:t>
              </a:r>
              <a:r>
                <a:rPr lang="en-US" sz="1765" kern="0" dirty="0">
                  <a:solidFill>
                    <a:srgbClr val="505050"/>
                  </a:solidFill>
                  <a:ea typeface="Segoe UI" panose="020B0502040204020203" pitchFamily="34" charset="0"/>
                  <a:cs typeface="Segoe UI" panose="020B0502040204020203" pitchFamily="34" charset="0"/>
                </a:rPr>
                <a:t>staff</a:t>
              </a:r>
            </a:p>
            <a:p>
              <a:pPr marL="223970" indent="-223970" defTabSz="895616">
                <a:spcBef>
                  <a:spcPts val="392"/>
                </a:spcBef>
                <a:buFont typeface="Arial" panose="020B0604020202020204" pitchFamily="34" charset="0"/>
                <a:buChar char="•"/>
                <a:defRPr/>
              </a:pPr>
              <a:r>
                <a:rPr lang="en-US" sz="1765" kern="0" dirty="0">
                  <a:solidFill>
                    <a:srgbClr val="505050"/>
                  </a:solidFill>
                  <a:ea typeface="Segoe UI" panose="020B0502040204020203" pitchFamily="34" charset="0"/>
                  <a:cs typeface="Segoe UI" panose="020B0502040204020203" pitchFamily="34" charset="0"/>
                </a:rPr>
                <a:t>Facility setback requirements</a:t>
              </a:r>
            </a:p>
            <a:p>
              <a:pPr marL="223970" indent="-223970" defTabSz="895616">
                <a:spcBef>
                  <a:spcPts val="392"/>
                </a:spcBef>
                <a:buFont typeface="Arial" panose="020B0604020202020204" pitchFamily="34" charset="0"/>
                <a:buChar char="•"/>
                <a:defRPr/>
              </a:pPr>
              <a:r>
                <a:rPr lang="en-US" sz="1765" kern="0" dirty="0">
                  <a:solidFill>
                    <a:srgbClr val="505050"/>
                  </a:solidFill>
                  <a:ea typeface="Segoe UI" panose="020B0502040204020203" pitchFamily="34" charset="0"/>
                  <a:cs typeface="Segoe UI" panose="020B0502040204020203" pitchFamily="34" charset="0"/>
                </a:rPr>
                <a:t>Barriers</a:t>
              </a:r>
              <a:endParaRPr lang="en-US" sz="1765" kern="0" dirty="0">
                <a:solidFill>
                  <a:srgbClr val="505050"/>
                </a:solidFill>
                <a:ea typeface="Segoe UI" panose="020B0502040204020203" pitchFamily="34" charset="0"/>
                <a:cs typeface="Segoe UI" panose="020B0502040204020203" pitchFamily="34" charset="0"/>
              </a:endParaRPr>
            </a:p>
            <a:p>
              <a:pPr marL="223970" indent="-223970" defTabSz="895616">
                <a:spcBef>
                  <a:spcPts val="392"/>
                </a:spcBef>
                <a:buFont typeface="Arial" panose="020B0604020202020204" pitchFamily="34" charset="0"/>
                <a:buChar char="•"/>
                <a:defRPr/>
              </a:pPr>
              <a:r>
                <a:rPr lang="en-US" sz="1765" kern="0" dirty="0">
                  <a:solidFill>
                    <a:srgbClr val="505050"/>
                  </a:solidFill>
                  <a:ea typeface="Segoe UI" panose="020B0502040204020203" pitchFamily="34" charset="0"/>
                  <a:cs typeface="Segoe UI" panose="020B0502040204020203" pitchFamily="34" charset="0"/>
                </a:rPr>
                <a:t>Fencing</a:t>
              </a:r>
            </a:p>
          </p:txBody>
        </p:sp>
        <p:sp>
          <p:nvSpPr>
            <p:cNvPr id="84" name="Freeform 58"/>
            <p:cNvSpPr>
              <a:spLocks noChangeAspect="1" noEditPoints="1"/>
            </p:cNvSpPr>
            <p:nvPr/>
          </p:nvSpPr>
          <p:spPr bwMode="black">
            <a:xfrm>
              <a:off x="3691216" y="2780327"/>
              <a:ext cx="425940" cy="456531"/>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3844"/>
              <a:endParaRPr lang="en-US" sz="1372">
                <a:solidFill>
                  <a:srgbClr val="000000"/>
                </a:solidFill>
              </a:endParaRPr>
            </a:p>
          </p:txBody>
        </p:sp>
      </p:grpSp>
      <p:grpSp>
        <p:nvGrpSpPr>
          <p:cNvPr id="6" name="Group 5"/>
          <p:cNvGrpSpPr/>
          <p:nvPr/>
        </p:nvGrpSpPr>
        <p:grpSpPr>
          <a:xfrm>
            <a:off x="4284065" y="2663659"/>
            <a:ext cx="3630521" cy="2447240"/>
            <a:chOff x="4380639" y="2716574"/>
            <a:chExt cx="3703320" cy="2496312"/>
          </a:xfrm>
        </p:grpSpPr>
        <p:sp>
          <p:nvSpPr>
            <p:cNvPr id="73" name="Rectangle 72"/>
            <p:cNvSpPr/>
            <p:nvPr/>
          </p:nvSpPr>
          <p:spPr bwMode="auto">
            <a:xfrm>
              <a:off x="4380639" y="2716574"/>
              <a:ext cx="3703320" cy="2496312"/>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89642" tIns="89642" rIns="107571" bIns="89642" numCol="1" spcCol="0" rtlCol="0" fromWordArt="0" anchor="t" anchorCtr="0" forceAA="0" compatLnSpc="1">
              <a:prstTxWarp prst="textNoShape">
                <a:avLst/>
              </a:prstTxWarp>
              <a:noAutofit/>
            </a:bodyPr>
            <a:lstStyle/>
            <a:p>
              <a:pPr defTabSz="895616">
                <a:spcBef>
                  <a:spcPts val="588"/>
                </a:spcBef>
                <a:spcAft>
                  <a:spcPts val="392"/>
                </a:spcAft>
              </a:pPr>
              <a:r>
                <a:rPr lang="en-US" sz="2353" kern="0" dirty="0">
                  <a:solidFill>
                    <a:srgbClr val="FFFFFF"/>
                  </a:solidFill>
                  <a:latin typeface="Segoe UI Light"/>
                </a:rPr>
                <a:t>Buildings</a:t>
              </a:r>
            </a:p>
          </p:txBody>
        </p:sp>
        <p:sp>
          <p:nvSpPr>
            <p:cNvPr id="72" name="Rectangle 71"/>
            <p:cNvSpPr/>
            <p:nvPr/>
          </p:nvSpPr>
          <p:spPr bwMode="auto">
            <a:xfrm>
              <a:off x="4380639" y="3304972"/>
              <a:ext cx="3703320" cy="1828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07571" tIns="71714" rIns="107571" bIns="71714" numCol="1" spcCol="0" rtlCol="0" fromWordArt="0" anchor="t" anchorCtr="0" forceAA="0" compatLnSpc="1">
              <a:prstTxWarp prst="textNoShape">
                <a:avLst/>
              </a:prstTxWarp>
              <a:noAutofit/>
            </a:bodyPr>
            <a:lstStyle/>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Alarms</a:t>
              </a:r>
            </a:p>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Security operations center</a:t>
              </a:r>
            </a:p>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Seismic bracing</a:t>
              </a:r>
            </a:p>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East/Central locations: U.S. Gov. Iowa &amp; U.S. Gov. Virginia</a:t>
              </a:r>
            </a:p>
          </p:txBody>
        </p:sp>
        <p:grpSp>
          <p:nvGrpSpPr>
            <p:cNvPr id="86" name="Group 425"/>
            <p:cNvGrpSpPr>
              <a:grpSpLocks noChangeAspect="1"/>
            </p:cNvGrpSpPr>
            <p:nvPr/>
          </p:nvGrpSpPr>
          <p:grpSpPr bwMode="auto">
            <a:xfrm>
              <a:off x="7559867" y="2819773"/>
              <a:ext cx="377640" cy="377638"/>
              <a:chOff x="-5097" y="3274"/>
              <a:chExt cx="652" cy="661"/>
            </a:xfrm>
            <a:solidFill>
              <a:schemeClr val="bg1">
                <a:lumMod val="50000"/>
              </a:schemeClr>
            </a:solidFill>
          </p:grpSpPr>
          <p:sp>
            <p:nvSpPr>
              <p:cNvPr id="87" name="Freeform 426"/>
              <p:cNvSpPr>
                <a:spLocks/>
              </p:cNvSpPr>
              <p:nvPr/>
            </p:nvSpPr>
            <p:spPr bwMode="auto">
              <a:xfrm>
                <a:off x="-5097" y="327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defTabSz="913844"/>
                <a:endParaRPr lang="en-US" sz="1372">
                  <a:solidFill>
                    <a:srgbClr val="000000"/>
                  </a:solidFill>
                </a:endParaRPr>
              </a:p>
            </p:txBody>
          </p:sp>
          <p:sp>
            <p:nvSpPr>
              <p:cNvPr id="88" name="Freeform 427"/>
              <p:cNvSpPr>
                <a:spLocks/>
              </p:cNvSpPr>
              <p:nvPr/>
            </p:nvSpPr>
            <p:spPr bwMode="auto">
              <a:xfrm>
                <a:off x="-4745" y="327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defTabSz="913844"/>
                <a:endParaRPr lang="en-US" sz="1372">
                  <a:solidFill>
                    <a:srgbClr val="000000"/>
                  </a:solidFill>
                </a:endParaRPr>
              </a:p>
            </p:txBody>
          </p:sp>
          <p:sp>
            <p:nvSpPr>
              <p:cNvPr id="89" name="Freeform 428"/>
              <p:cNvSpPr>
                <a:spLocks/>
              </p:cNvSpPr>
              <p:nvPr/>
            </p:nvSpPr>
            <p:spPr bwMode="auto">
              <a:xfrm>
                <a:off x="-5097" y="363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defTabSz="913844"/>
                <a:endParaRPr lang="en-US" sz="1372">
                  <a:solidFill>
                    <a:srgbClr val="000000"/>
                  </a:solidFill>
                </a:endParaRPr>
              </a:p>
            </p:txBody>
          </p:sp>
          <p:sp>
            <p:nvSpPr>
              <p:cNvPr id="90" name="Freeform 429"/>
              <p:cNvSpPr>
                <a:spLocks/>
              </p:cNvSpPr>
              <p:nvPr/>
            </p:nvSpPr>
            <p:spPr bwMode="auto">
              <a:xfrm>
                <a:off x="-4745" y="363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42" tIns="44821" rIns="89642" bIns="44821" numCol="1" anchor="t" anchorCtr="0" compatLnSpc="1">
                <a:prstTxWarp prst="textNoShape">
                  <a:avLst/>
                </a:prstTxWarp>
              </a:bodyPr>
              <a:lstStyle/>
              <a:p>
                <a:pPr defTabSz="913844"/>
                <a:endParaRPr lang="en-US" sz="1372">
                  <a:solidFill>
                    <a:srgbClr val="000000"/>
                  </a:solidFill>
                </a:endParaRPr>
              </a:p>
            </p:txBody>
          </p:sp>
        </p:grpSp>
      </p:grpSp>
      <p:grpSp>
        <p:nvGrpSpPr>
          <p:cNvPr id="5" name="Group 4"/>
          <p:cNvGrpSpPr/>
          <p:nvPr/>
        </p:nvGrpSpPr>
        <p:grpSpPr>
          <a:xfrm>
            <a:off x="7999274" y="2663659"/>
            <a:ext cx="3630521" cy="2447240"/>
            <a:chOff x="8181839" y="2716574"/>
            <a:chExt cx="3703320" cy="2496312"/>
          </a:xfrm>
        </p:grpSpPr>
        <p:sp>
          <p:nvSpPr>
            <p:cNvPr id="68" name="Rectangle 67"/>
            <p:cNvSpPr/>
            <p:nvPr/>
          </p:nvSpPr>
          <p:spPr bwMode="auto">
            <a:xfrm>
              <a:off x="8181839" y="2716574"/>
              <a:ext cx="3703320" cy="2496312"/>
            </a:xfrm>
            <a:prstGeom prst="rect">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07571" tIns="89642" rIns="107571" bIns="89642" numCol="1" spcCol="0" rtlCol="0" fromWordArt="0" anchor="t" anchorCtr="0" forceAA="0" compatLnSpc="1">
              <a:prstTxWarp prst="textNoShape">
                <a:avLst/>
              </a:prstTxWarp>
              <a:noAutofit/>
            </a:bodyPr>
            <a:lstStyle/>
            <a:p>
              <a:pPr defTabSz="895616">
                <a:spcBef>
                  <a:spcPts val="588"/>
                </a:spcBef>
                <a:spcAft>
                  <a:spcPts val="392"/>
                </a:spcAft>
              </a:pPr>
              <a:r>
                <a:rPr lang="en-US" sz="2353" kern="0" dirty="0">
                  <a:solidFill>
                    <a:srgbClr val="FFFFFF"/>
                  </a:solidFill>
                  <a:latin typeface="Segoe UI Light"/>
                </a:rPr>
                <a:t>Computer room</a:t>
              </a:r>
            </a:p>
          </p:txBody>
        </p:sp>
        <p:sp>
          <p:nvSpPr>
            <p:cNvPr id="67" name="Rectangle 66"/>
            <p:cNvSpPr/>
            <p:nvPr/>
          </p:nvSpPr>
          <p:spPr bwMode="auto">
            <a:xfrm>
              <a:off x="8181839" y="3304972"/>
              <a:ext cx="3703320" cy="1828800"/>
            </a:xfrm>
            <a:prstGeom prst="rect">
              <a:avLst/>
            </a:pr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107571" tIns="71714" rIns="107571" bIns="71714" numCol="1" spcCol="0" rtlCol="0" fromWordArt="0" anchor="t" anchorCtr="0" forceAA="0" compatLnSpc="1">
              <a:prstTxWarp prst="textNoShape">
                <a:avLst/>
              </a:prstTxWarp>
              <a:noAutofit/>
            </a:bodyPr>
            <a:lstStyle/>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Two-factor access control: Biometric &amp; card readers</a:t>
              </a:r>
            </a:p>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Camera</a:t>
              </a:r>
            </a:p>
            <a:p>
              <a:pPr marL="223970" indent="-223970" defTabSz="895616">
                <a:spcBef>
                  <a:spcPts val="392"/>
                </a:spcBef>
                <a:buFont typeface="Arial" panose="020B0604020202020204" pitchFamily="34" charset="0"/>
                <a:buChar char="•"/>
              </a:pPr>
              <a:r>
                <a:rPr lang="en-US" sz="1765" kern="0" dirty="0">
                  <a:solidFill>
                    <a:srgbClr val="505050"/>
                  </a:solidFill>
                  <a:ea typeface="Segoe UI" panose="020B0502040204020203" pitchFamily="34" charset="0"/>
                  <a:cs typeface="Segoe UI" panose="020B0502040204020203" pitchFamily="34" charset="0"/>
                </a:rPr>
                <a:t>Days of backup power</a:t>
              </a:r>
            </a:p>
          </p:txBody>
        </p:sp>
        <p:sp>
          <p:nvSpPr>
            <p:cNvPr id="77" name="Freeform 76"/>
            <p:cNvSpPr/>
            <p:nvPr/>
          </p:nvSpPr>
          <p:spPr bwMode="auto">
            <a:xfrm>
              <a:off x="11343505" y="2823872"/>
              <a:ext cx="411404" cy="369440"/>
            </a:xfrm>
            <a:custGeom>
              <a:avLst/>
              <a:gdLst/>
              <a:ahLst/>
              <a:cxnLst/>
              <a:rect l="l" t="t" r="r" b="b"/>
              <a:pathLst>
                <a:path w="3944686" h="3542339">
                  <a:moveTo>
                    <a:pt x="2192297" y="2335887"/>
                  </a:moveTo>
                  <a:cubicBezTo>
                    <a:pt x="2222820" y="2335887"/>
                    <a:pt x="2253343" y="2347531"/>
                    <a:pt x="2276631" y="2370819"/>
                  </a:cubicBezTo>
                  <a:lnTo>
                    <a:pt x="2292434" y="2386622"/>
                  </a:lnTo>
                  <a:cubicBezTo>
                    <a:pt x="2335532" y="2429720"/>
                    <a:pt x="2338751" y="2497598"/>
                    <a:pt x="2300496" y="2543150"/>
                  </a:cubicBezTo>
                  <a:cubicBezTo>
                    <a:pt x="2320893" y="2524465"/>
                    <a:pt x="2347082" y="2515893"/>
                    <a:pt x="2373272" y="2515893"/>
                  </a:cubicBezTo>
                  <a:cubicBezTo>
                    <a:pt x="2403795" y="2515893"/>
                    <a:pt x="2434317" y="2527537"/>
                    <a:pt x="2457606" y="2550825"/>
                  </a:cubicBezTo>
                  <a:lnTo>
                    <a:pt x="2473408" y="2566628"/>
                  </a:lnTo>
                  <a:cubicBezTo>
                    <a:pt x="2513642" y="2606861"/>
                    <a:pt x="2519121" y="2668690"/>
                    <a:pt x="2487855" y="2713541"/>
                  </a:cubicBezTo>
                  <a:cubicBezTo>
                    <a:pt x="2506319" y="2698588"/>
                    <a:pt x="2529091" y="2692106"/>
                    <a:pt x="2551864" y="2692106"/>
                  </a:cubicBezTo>
                  <a:cubicBezTo>
                    <a:pt x="2582388" y="2692105"/>
                    <a:pt x="2612911" y="2703750"/>
                    <a:pt x="2636199" y="2727038"/>
                  </a:cubicBezTo>
                  <a:lnTo>
                    <a:pt x="2652002" y="2742841"/>
                  </a:lnTo>
                  <a:cubicBezTo>
                    <a:pt x="2695158" y="2785997"/>
                    <a:pt x="2698327" y="2853999"/>
                    <a:pt x="2659933" y="2899565"/>
                  </a:cubicBezTo>
                  <a:cubicBezTo>
                    <a:pt x="2705363" y="2862497"/>
                    <a:pt x="2772186" y="2866128"/>
                    <a:pt x="2814793" y="2908735"/>
                  </a:cubicBezTo>
                  <a:lnTo>
                    <a:pt x="2830596" y="2924538"/>
                  </a:lnTo>
                  <a:cubicBezTo>
                    <a:pt x="2877172" y="2971114"/>
                    <a:pt x="2877172" y="3046630"/>
                    <a:pt x="2830596" y="3093207"/>
                  </a:cubicBezTo>
                  <a:lnTo>
                    <a:pt x="2578619" y="3345183"/>
                  </a:lnTo>
                  <a:cubicBezTo>
                    <a:pt x="2532042" y="3391760"/>
                    <a:pt x="2456526" y="3391760"/>
                    <a:pt x="2409950" y="3345183"/>
                  </a:cubicBezTo>
                  <a:lnTo>
                    <a:pt x="2394147" y="3329381"/>
                  </a:lnTo>
                  <a:cubicBezTo>
                    <a:pt x="2350991" y="3286224"/>
                    <a:pt x="2347822" y="3218222"/>
                    <a:pt x="2386216" y="3172656"/>
                  </a:cubicBezTo>
                  <a:cubicBezTo>
                    <a:pt x="2340786" y="3209724"/>
                    <a:pt x="2273962" y="3206093"/>
                    <a:pt x="2231356" y="3163487"/>
                  </a:cubicBezTo>
                  <a:lnTo>
                    <a:pt x="2215553" y="3147684"/>
                  </a:lnTo>
                  <a:cubicBezTo>
                    <a:pt x="2175319" y="3107450"/>
                    <a:pt x="2169841" y="3045621"/>
                    <a:pt x="2201107" y="3000770"/>
                  </a:cubicBezTo>
                  <a:cubicBezTo>
                    <a:pt x="2156148" y="3033099"/>
                    <a:pt x="2093426" y="3027937"/>
                    <a:pt x="2052763" y="2987273"/>
                  </a:cubicBezTo>
                  <a:lnTo>
                    <a:pt x="2036960" y="2971471"/>
                  </a:lnTo>
                  <a:cubicBezTo>
                    <a:pt x="1993861" y="2928372"/>
                    <a:pt x="1990644" y="2860494"/>
                    <a:pt x="2028898" y="2814942"/>
                  </a:cubicBezTo>
                  <a:cubicBezTo>
                    <a:pt x="1983303" y="2853609"/>
                    <a:pt x="1915058" y="2850537"/>
                    <a:pt x="1871788" y="2807267"/>
                  </a:cubicBezTo>
                  <a:lnTo>
                    <a:pt x="1855985" y="2791465"/>
                  </a:lnTo>
                  <a:cubicBezTo>
                    <a:pt x="1809409" y="2744889"/>
                    <a:pt x="1809409" y="2669372"/>
                    <a:pt x="1855985" y="2622796"/>
                  </a:cubicBezTo>
                  <a:lnTo>
                    <a:pt x="2107962" y="2370819"/>
                  </a:lnTo>
                  <a:cubicBezTo>
                    <a:pt x="2131251" y="2347531"/>
                    <a:pt x="2161773" y="2335887"/>
                    <a:pt x="2192297" y="2335887"/>
                  </a:cubicBezTo>
                  <a:close/>
                  <a:moveTo>
                    <a:pt x="2691097" y="2200055"/>
                  </a:moveTo>
                  <a:lnTo>
                    <a:pt x="3472263" y="2977700"/>
                  </a:lnTo>
                  <a:cubicBezTo>
                    <a:pt x="3570347" y="3075342"/>
                    <a:pt x="3570705" y="3234008"/>
                    <a:pt x="3473064" y="3332091"/>
                  </a:cubicBezTo>
                  <a:lnTo>
                    <a:pt x="3337229" y="3468542"/>
                  </a:lnTo>
                  <a:cubicBezTo>
                    <a:pt x="3239588" y="3566624"/>
                    <a:pt x="3080921" y="3566984"/>
                    <a:pt x="2982839" y="3469342"/>
                  </a:cubicBezTo>
                  <a:lnTo>
                    <a:pt x="2817512" y="3304759"/>
                  </a:lnTo>
                  <a:lnTo>
                    <a:pt x="2962277" y="3146075"/>
                  </a:lnTo>
                  <a:cubicBezTo>
                    <a:pt x="3000906" y="3080723"/>
                    <a:pt x="3068110" y="2862970"/>
                    <a:pt x="2806702" y="2742850"/>
                  </a:cubicBezTo>
                  <a:cubicBezTo>
                    <a:pt x="2788975" y="2687023"/>
                    <a:pt x="2711717" y="2588332"/>
                    <a:pt x="2632077" y="2568225"/>
                  </a:cubicBezTo>
                  <a:cubicBezTo>
                    <a:pt x="2614878" y="2517689"/>
                    <a:pt x="2571486" y="2455248"/>
                    <a:pt x="2501902" y="2409475"/>
                  </a:cubicBezTo>
                  <a:cubicBezTo>
                    <a:pt x="2576176" y="2376963"/>
                    <a:pt x="2631305" y="2325306"/>
                    <a:pt x="2691097" y="2200055"/>
                  </a:cubicBezTo>
                  <a:close/>
                  <a:moveTo>
                    <a:pt x="3102770" y="1568894"/>
                  </a:moveTo>
                  <a:cubicBezTo>
                    <a:pt x="3144045" y="1569688"/>
                    <a:pt x="3175795" y="1589531"/>
                    <a:pt x="3212307" y="1628425"/>
                  </a:cubicBezTo>
                  <a:lnTo>
                    <a:pt x="3671888" y="2085625"/>
                  </a:lnTo>
                  <a:cubicBezTo>
                    <a:pt x="3725069" y="2130076"/>
                    <a:pt x="3706813" y="2205481"/>
                    <a:pt x="3681413" y="2240406"/>
                  </a:cubicBezTo>
                  <a:lnTo>
                    <a:pt x="3305176" y="2619025"/>
                  </a:lnTo>
                  <a:lnTo>
                    <a:pt x="2636045" y="1949894"/>
                  </a:lnTo>
                  <a:lnTo>
                    <a:pt x="2580156" y="2089614"/>
                  </a:lnTo>
                  <a:lnTo>
                    <a:pt x="2580331" y="2089788"/>
                  </a:lnTo>
                  <a:lnTo>
                    <a:pt x="2573515" y="2107172"/>
                  </a:lnTo>
                  <a:cubicBezTo>
                    <a:pt x="2564396" y="2153317"/>
                    <a:pt x="2550969" y="2186218"/>
                    <a:pt x="2533301" y="2209748"/>
                  </a:cubicBezTo>
                  <a:lnTo>
                    <a:pt x="2529684" y="2218975"/>
                  </a:lnTo>
                  <a:lnTo>
                    <a:pt x="2524242" y="2224111"/>
                  </a:lnTo>
                  <a:cubicBezTo>
                    <a:pt x="2500438" y="2257107"/>
                    <a:pt x="2471081" y="2273400"/>
                    <a:pt x="2443163" y="2290413"/>
                  </a:cubicBezTo>
                  <a:cubicBezTo>
                    <a:pt x="2282032" y="2346769"/>
                    <a:pt x="2244726" y="2234057"/>
                    <a:pt x="2245520" y="2159444"/>
                  </a:cubicBezTo>
                  <a:lnTo>
                    <a:pt x="2350183" y="1889991"/>
                  </a:lnTo>
                  <a:lnTo>
                    <a:pt x="2357973" y="1868434"/>
                  </a:lnTo>
                  <a:lnTo>
                    <a:pt x="2358432" y="1868891"/>
                  </a:lnTo>
                  <a:lnTo>
                    <a:pt x="2433638" y="1685575"/>
                  </a:lnTo>
                  <a:cubicBezTo>
                    <a:pt x="2459038" y="1641919"/>
                    <a:pt x="2493963" y="1610168"/>
                    <a:pt x="2552701" y="1583181"/>
                  </a:cubicBezTo>
                  <a:close/>
                  <a:moveTo>
                    <a:pt x="3366858" y="1340370"/>
                  </a:moveTo>
                  <a:cubicBezTo>
                    <a:pt x="3396373" y="1340115"/>
                    <a:pt x="3425985" y="1351120"/>
                    <a:pt x="3448699" y="1373445"/>
                  </a:cubicBezTo>
                  <a:lnTo>
                    <a:pt x="3910198" y="1827046"/>
                  </a:lnTo>
                  <a:cubicBezTo>
                    <a:pt x="3955627" y="1871696"/>
                    <a:pt x="3956257" y="1944719"/>
                    <a:pt x="3911606" y="1990146"/>
                  </a:cubicBezTo>
                  <a:lnTo>
                    <a:pt x="3870718" y="2031747"/>
                  </a:lnTo>
                  <a:cubicBezTo>
                    <a:pt x="3826068" y="2077175"/>
                    <a:pt x="3753045" y="2077805"/>
                    <a:pt x="3707618" y="2033155"/>
                  </a:cubicBezTo>
                  <a:lnTo>
                    <a:pt x="3246119" y="1579553"/>
                  </a:lnTo>
                  <a:cubicBezTo>
                    <a:pt x="3200691" y="1534903"/>
                    <a:pt x="3200060" y="1461881"/>
                    <a:pt x="3244711" y="1416454"/>
                  </a:cubicBezTo>
                  <a:lnTo>
                    <a:pt x="3285600" y="1374853"/>
                  </a:lnTo>
                  <a:cubicBezTo>
                    <a:pt x="3307925" y="1352139"/>
                    <a:pt x="3337343" y="1340624"/>
                    <a:pt x="3366858" y="1340370"/>
                  </a:cubicBezTo>
                  <a:close/>
                  <a:moveTo>
                    <a:pt x="704734" y="662655"/>
                  </a:moveTo>
                  <a:cubicBezTo>
                    <a:pt x="787264" y="660409"/>
                    <a:pt x="791171" y="737242"/>
                    <a:pt x="778669" y="783080"/>
                  </a:cubicBezTo>
                  <a:cubicBezTo>
                    <a:pt x="731838" y="864838"/>
                    <a:pt x="584995" y="1003743"/>
                    <a:pt x="702469" y="1328387"/>
                  </a:cubicBezTo>
                  <a:cubicBezTo>
                    <a:pt x="709612" y="1383157"/>
                    <a:pt x="666750" y="1442687"/>
                    <a:pt x="573881" y="1406969"/>
                  </a:cubicBezTo>
                  <a:cubicBezTo>
                    <a:pt x="389733" y="1094230"/>
                    <a:pt x="574676" y="767205"/>
                    <a:pt x="664370" y="668780"/>
                  </a:cubicBezTo>
                  <a:cubicBezTo>
                    <a:pt x="679550" y="664912"/>
                    <a:pt x="692945" y="662976"/>
                    <a:pt x="704734" y="662655"/>
                  </a:cubicBezTo>
                  <a:close/>
                  <a:moveTo>
                    <a:pt x="1117600" y="323849"/>
                  </a:moveTo>
                  <a:cubicBezTo>
                    <a:pt x="679225" y="323849"/>
                    <a:pt x="323850" y="679224"/>
                    <a:pt x="323850" y="1117599"/>
                  </a:cubicBezTo>
                  <a:cubicBezTo>
                    <a:pt x="323850" y="1555975"/>
                    <a:pt x="679225" y="1911350"/>
                    <a:pt x="1117601" y="1911350"/>
                  </a:cubicBezTo>
                  <a:cubicBezTo>
                    <a:pt x="1555976" y="1911350"/>
                    <a:pt x="1911350" y="1555975"/>
                    <a:pt x="1911351" y="1117599"/>
                  </a:cubicBezTo>
                  <a:cubicBezTo>
                    <a:pt x="1911350" y="679224"/>
                    <a:pt x="1555976" y="323849"/>
                    <a:pt x="1117600" y="323849"/>
                  </a:cubicBezTo>
                  <a:close/>
                  <a:moveTo>
                    <a:pt x="1117600" y="0"/>
                  </a:moveTo>
                  <a:cubicBezTo>
                    <a:pt x="1734834" y="0"/>
                    <a:pt x="2235200" y="500366"/>
                    <a:pt x="2235200" y="1117599"/>
                  </a:cubicBezTo>
                  <a:cubicBezTo>
                    <a:pt x="2235200" y="1301729"/>
                    <a:pt x="2190672" y="1475458"/>
                    <a:pt x="2110973" y="1628182"/>
                  </a:cubicBezTo>
                  <a:cubicBezTo>
                    <a:pt x="2122110" y="1635147"/>
                    <a:pt x="2132273" y="1643753"/>
                    <a:pt x="2141859" y="1653293"/>
                  </a:cubicBezTo>
                  <a:lnTo>
                    <a:pt x="2260556" y="1771456"/>
                  </a:lnTo>
                  <a:cubicBezTo>
                    <a:pt x="2194277" y="1936882"/>
                    <a:pt x="2092662" y="2130894"/>
                    <a:pt x="2120901" y="2218974"/>
                  </a:cubicBezTo>
                  <a:cubicBezTo>
                    <a:pt x="2022995" y="2244740"/>
                    <a:pt x="1962724" y="2320683"/>
                    <a:pt x="1893639" y="2385053"/>
                  </a:cubicBezTo>
                  <a:lnTo>
                    <a:pt x="1652433" y="2144936"/>
                  </a:lnTo>
                  <a:lnTo>
                    <a:pt x="1625589" y="2112222"/>
                  </a:lnTo>
                  <a:cubicBezTo>
                    <a:pt x="1473521" y="2191167"/>
                    <a:pt x="1300703" y="2235200"/>
                    <a:pt x="1117600" y="2235200"/>
                  </a:cubicBezTo>
                  <a:cubicBezTo>
                    <a:pt x="500367" y="2235200"/>
                    <a:pt x="0" y="1734833"/>
                    <a:pt x="0" y="1117599"/>
                  </a:cubicBezTo>
                  <a:cubicBezTo>
                    <a:pt x="0" y="500366"/>
                    <a:pt x="500368" y="-1"/>
                    <a:pt x="11176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5578"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 name="Title 3"/>
          <p:cNvSpPr>
            <a:spLocks noGrp="1"/>
          </p:cNvSpPr>
          <p:nvPr>
            <p:ph type="title"/>
          </p:nvPr>
        </p:nvSpPr>
        <p:spPr/>
        <p:txBody>
          <a:bodyPr/>
          <a:lstStyle/>
          <a:p>
            <a:r>
              <a:rPr lang="en-US" dirty="0" smtClean="0"/>
              <a:t>Azure Government: powerful </a:t>
            </a:r>
            <a:r>
              <a:rPr lang="en-US" dirty="0"/>
              <a:t>d</a:t>
            </a:r>
            <a:r>
              <a:rPr lang="en-US" dirty="0" smtClean="0"/>
              <a:t>atacenter security</a:t>
            </a:r>
            <a:endParaRPr lang="en-US" dirty="0"/>
          </a:p>
        </p:txBody>
      </p:sp>
      <p:sp>
        <p:nvSpPr>
          <p:cNvPr id="307" name="TextBox 3"/>
          <p:cNvSpPr txBox="1"/>
          <p:nvPr/>
        </p:nvSpPr>
        <p:spPr>
          <a:xfrm>
            <a:off x="568048" y="1201862"/>
            <a:ext cx="11052311" cy="1327799"/>
          </a:xfrm>
          <a:prstGeom prst="rect">
            <a:avLst/>
          </a:prstGeom>
          <a:noFill/>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r>
              <a:rPr lang="en-US" sz="2157" dirty="0">
                <a:solidFill>
                  <a:srgbClr val="505050"/>
                </a:solidFill>
                <a:latin typeface="Segoe UI Light"/>
              </a:rPr>
              <a:t>Customer data, applications, and hardware reside in the continental United States (CONUS) in specially constructed datacenters. The datacenters are physically isolated from Azure commercial services and geographically distributed more than 500 miles apart to support business continuity scenarios.</a:t>
            </a:r>
          </a:p>
        </p:txBody>
      </p:sp>
      <p:sp>
        <p:nvSpPr>
          <p:cNvPr id="11" name="Footer Placeholder 10"/>
          <p:cNvSpPr>
            <a:spLocks noGrp="1"/>
          </p:cNvSpPr>
          <p:nvPr>
            <p:ph type="ftr" sz="quarter" idx="10"/>
          </p:nvPr>
        </p:nvSpPr>
        <p:spPr/>
        <p:txBody>
          <a:bodyPr/>
          <a:lstStyle/>
          <a:p>
            <a:r>
              <a:rPr dirty="0" smtClean="0">
                <a:solidFill>
                  <a:srgbClr val="FFFFFF"/>
                </a:solidFill>
              </a:rPr>
              <a:t>Microsoft Confidential - INTERNAL ONLY</a:t>
            </a:r>
            <a:endParaRPr dirty="0">
              <a:solidFill>
                <a:srgbClr val="FFFFFF"/>
              </a:solidFill>
            </a:endParaRPr>
          </a:p>
        </p:txBody>
      </p:sp>
      <p:sp>
        <p:nvSpPr>
          <p:cNvPr id="12" name="Slide Number Placeholder 11"/>
          <p:cNvSpPr>
            <a:spLocks noGrp="1"/>
          </p:cNvSpPr>
          <p:nvPr>
            <p:ph type="sldNum" sz="quarter" idx="11"/>
          </p:nvPr>
        </p:nvSpPr>
        <p:spPr/>
        <p:txBody>
          <a:bodyPr/>
          <a:lstStyle/>
          <a:p>
            <a:fld id="{27258FFF-F925-446B-8502-81C933981705}" type="slidenum">
              <a:rPr>
                <a:solidFill>
                  <a:srgbClr val="FFFFFF"/>
                </a:solidFill>
              </a:rPr>
              <a:pPr/>
              <a:t>10</a:t>
            </a:fld>
            <a:endParaRPr dirty="0">
              <a:solidFill>
                <a:srgbClr val="FFFFFF"/>
              </a:solidFill>
            </a:endParaRPr>
          </a:p>
        </p:txBody>
      </p:sp>
    </p:spTree>
    <p:extLst>
      <p:ext uri="{BB962C8B-B14F-4D97-AF65-F5344CB8AC3E}">
        <p14:creationId xmlns:p14="http://schemas.microsoft.com/office/powerpoint/2010/main" val="1813840946"/>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Rectangle 1"/>
          <p:cNvSpPr/>
          <p:nvPr/>
        </p:nvSpPr>
        <p:spPr bwMode="auto">
          <a:xfrm>
            <a:off x="607643" y="177456"/>
            <a:ext cx="11651870" cy="638856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lnSpc>
                <a:spcPct val="90000"/>
              </a:lnSpc>
              <a:spcBef>
                <a:spcPct val="0"/>
              </a:spcBef>
              <a:spcAft>
                <a:spcPct val="0"/>
              </a:spcAft>
            </a:pPr>
            <a:endParaRPr lang="en-US" sz="1961" dirty="0">
              <a:gradFill>
                <a:gsLst>
                  <a:gs pos="0">
                    <a:srgbClr val="FFFFFF"/>
                  </a:gs>
                  <a:gs pos="100000">
                    <a:srgbClr val="FFFFFF"/>
                  </a:gs>
                </a:gsLst>
                <a:lin ang="5400000" scaled="0"/>
              </a:gradFill>
            </a:endParaRPr>
          </a:p>
        </p:txBody>
      </p:sp>
      <p:sp>
        <p:nvSpPr>
          <p:cNvPr id="4" name="Rectangle 3"/>
          <p:cNvSpPr/>
          <p:nvPr/>
        </p:nvSpPr>
        <p:spPr bwMode="auto">
          <a:xfrm>
            <a:off x="270063" y="650282"/>
            <a:ext cx="6948454" cy="68570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889" tIns="143407" rIns="179259" bIns="143407" numCol="1" rtlCol="0" anchor="t" anchorCtr="0" compatLnSpc="1">
            <a:prstTxWarp prst="textNoShape">
              <a:avLst/>
            </a:prstTxWarp>
            <a:noAutofit/>
          </a:bodyPr>
          <a:lstStyle/>
          <a:p>
            <a:pPr defTabSz="913927" fontAlgn="base">
              <a:lnSpc>
                <a:spcPct val="90000"/>
              </a:lnSpc>
            </a:pPr>
            <a:endPar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5" name="97B Original" hidden="1"/>
          <p:cNvGrpSpPr/>
          <p:nvPr/>
        </p:nvGrpSpPr>
        <p:grpSpPr>
          <a:xfrm>
            <a:off x="815621" y="-3754232"/>
            <a:ext cx="4062422" cy="3280872"/>
            <a:chOff x="831211" y="1413160"/>
            <a:chExt cx="4144470" cy="3347134"/>
          </a:xfrm>
        </p:grpSpPr>
        <p:sp>
          <p:nvSpPr>
            <p:cNvPr id="9" name="Rectangle 8"/>
            <p:cNvSpPr/>
            <p:nvPr/>
          </p:nvSpPr>
          <p:spPr bwMode="auto">
            <a:xfrm>
              <a:off x="831211" y="1413160"/>
              <a:ext cx="4144470" cy="25944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143407" rIns="0" bIns="143407" numCol="1" rtlCol="0" anchor="t" anchorCtr="0" compatLnSpc="1">
              <a:prstTxWarp prst="textNoShape">
                <a:avLst/>
              </a:prstTxWarp>
              <a:spAutoFit/>
            </a:bodyPr>
            <a:lstStyle/>
            <a:p>
              <a:pPr defTabSz="914192" fontAlgn="base">
                <a:lnSpc>
                  <a:spcPct val="90000"/>
                </a:lnSpc>
              </a:pPr>
              <a:r>
                <a:rPr lang="en-US" sz="16270" spc="-784" dirty="0">
                  <a:gradFill>
                    <a:gsLst>
                      <a:gs pos="94690">
                        <a:srgbClr val="DC3C00"/>
                      </a:gs>
                      <a:gs pos="56000">
                        <a:srgbClr val="DC3C00"/>
                      </a:gs>
                    </a:gsLst>
                    <a:lin ang="5400000" scaled="0"/>
                  </a:gradFill>
                  <a:latin typeface="Segoe UI Light"/>
                </a:rPr>
                <a:t>$97B</a:t>
              </a:r>
            </a:p>
          </p:txBody>
        </p:sp>
        <p:sp>
          <p:nvSpPr>
            <p:cNvPr id="30" name="Rectangle 29"/>
            <p:cNvSpPr/>
            <p:nvPr/>
          </p:nvSpPr>
          <p:spPr bwMode="auto">
            <a:xfrm>
              <a:off x="945832" y="3560920"/>
              <a:ext cx="4012763" cy="11993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3136" spc="-39" dirty="0">
                  <a:gradFill>
                    <a:gsLst>
                      <a:gs pos="38053">
                        <a:srgbClr val="000000">
                          <a:lumMod val="85000"/>
                          <a:lumOff val="15000"/>
                        </a:srgbClr>
                      </a:gs>
                      <a:gs pos="56000">
                        <a:srgbClr val="000000">
                          <a:lumMod val="85000"/>
                          <a:lumOff val="15000"/>
                        </a:srgbClr>
                      </a:gs>
                    </a:gsLst>
                    <a:lin ang="5400000" scaled="0"/>
                  </a:gradFill>
                  <a:latin typeface="Segoe UI Semilight" panose="020B0402040204020203" pitchFamily="34" charset="0"/>
                  <a:cs typeface="Segoe UI Semilight" panose="020B0402040204020203" pitchFamily="34" charset="0"/>
                </a:rPr>
                <a:t>Global cloud market in 2015</a:t>
              </a:r>
            </a:p>
          </p:txBody>
        </p:sp>
      </p:grpSp>
      <p:grpSp>
        <p:nvGrpSpPr>
          <p:cNvPr id="8" name="46% original" hidden="1"/>
          <p:cNvGrpSpPr/>
          <p:nvPr/>
        </p:nvGrpSpPr>
        <p:grpSpPr>
          <a:xfrm>
            <a:off x="5756551" y="-3754232"/>
            <a:ext cx="4905853" cy="3280872"/>
            <a:chOff x="5871931" y="1413160"/>
            <a:chExt cx="5004936" cy="3347134"/>
          </a:xfrm>
        </p:grpSpPr>
        <p:sp>
          <p:nvSpPr>
            <p:cNvPr id="10" name="Rectangle 9"/>
            <p:cNvSpPr/>
            <p:nvPr/>
          </p:nvSpPr>
          <p:spPr bwMode="auto">
            <a:xfrm>
              <a:off x="5908063" y="3560920"/>
              <a:ext cx="4968804" cy="11993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3136" spc="-39" dirty="0">
                  <a:gradFill>
                    <a:gsLst>
                      <a:gs pos="38053">
                        <a:srgbClr val="000000">
                          <a:lumMod val="85000"/>
                          <a:lumOff val="15000"/>
                        </a:srgbClr>
                      </a:gs>
                      <a:gs pos="56000">
                        <a:srgbClr val="000000">
                          <a:lumMod val="85000"/>
                          <a:lumOff val="15000"/>
                        </a:srgbClr>
                      </a:gs>
                    </a:gsLst>
                    <a:lin ang="5400000" scaled="0"/>
                  </a:gradFill>
                  <a:latin typeface="Segoe UI Semilight" panose="020B0402040204020203" pitchFamily="34" charset="0"/>
                  <a:cs typeface="Segoe UI Semilight" panose="020B0402040204020203" pitchFamily="34" charset="0"/>
                </a:rPr>
                <a:t>Public cloud service of net new growth in IT spend</a:t>
              </a:r>
            </a:p>
          </p:txBody>
        </p:sp>
        <p:sp>
          <p:nvSpPr>
            <p:cNvPr id="28" name="Rectangle 27"/>
            <p:cNvSpPr/>
            <p:nvPr/>
          </p:nvSpPr>
          <p:spPr bwMode="auto">
            <a:xfrm>
              <a:off x="5871931" y="1413160"/>
              <a:ext cx="4254322" cy="26402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16270" spc="-294" dirty="0">
                  <a:gradFill>
                    <a:gsLst>
                      <a:gs pos="94690">
                        <a:srgbClr val="DC3C00"/>
                      </a:gs>
                      <a:gs pos="56000">
                        <a:srgbClr val="DC3C00"/>
                      </a:gs>
                    </a:gsLst>
                    <a:lin ang="5400000" scaled="0"/>
                  </a:gradFill>
                  <a:latin typeface="Segoe UI Light"/>
                </a:rPr>
                <a:t>46</a:t>
              </a:r>
              <a:r>
                <a:rPr lang="en-US" sz="11271" spc="-294" dirty="0">
                  <a:gradFill>
                    <a:gsLst>
                      <a:gs pos="94690">
                        <a:srgbClr val="DC3C00"/>
                      </a:gs>
                      <a:gs pos="56000">
                        <a:srgbClr val="DC3C00"/>
                      </a:gs>
                    </a:gsLst>
                    <a:lin ang="5400000" scaled="0"/>
                  </a:gradFill>
                  <a:latin typeface="Segoe UI Light"/>
                </a:rPr>
                <a:t>%</a:t>
              </a:r>
              <a:endParaRPr lang="en-US" sz="16270" spc="-294" dirty="0">
                <a:gradFill>
                  <a:gsLst>
                    <a:gs pos="94690">
                      <a:srgbClr val="DC3C00"/>
                    </a:gs>
                    <a:gs pos="56000">
                      <a:srgbClr val="DC3C00"/>
                    </a:gs>
                  </a:gsLst>
                  <a:lin ang="5400000" scaled="0"/>
                </a:gradFill>
                <a:latin typeface="Segoe UI Light"/>
              </a:endParaRPr>
            </a:p>
          </p:txBody>
        </p:sp>
      </p:grpSp>
      <p:sp>
        <p:nvSpPr>
          <p:cNvPr id="29" name="Rectangle 28"/>
          <p:cNvSpPr/>
          <p:nvPr/>
        </p:nvSpPr>
        <p:spPr bwMode="auto">
          <a:xfrm>
            <a:off x="270065" y="658267"/>
            <a:ext cx="6948451" cy="6697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889" tIns="143407" rIns="179259" bIns="143407" numCol="1" rtlCol="0" anchor="t" anchorCtr="0" compatLnSpc="1">
            <a:prstTxWarp prst="textNoShape">
              <a:avLst/>
            </a:prstTxWarp>
            <a:spAutoFit/>
          </a:bodyPr>
          <a:lstStyle/>
          <a:p>
            <a:pPr defTabSz="913927" fontAlgn="base">
              <a:lnSpc>
                <a:spcPct val="90000"/>
              </a:lnSpc>
            </a:pPr>
            <a:r>
              <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rPr>
              <a:t>MICROSOFT CLOUD PLATFORM SYSTEM</a:t>
            </a:r>
            <a:endPar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endParaRPr>
          </a:p>
        </p:txBody>
      </p:sp>
      <p:sp>
        <p:nvSpPr>
          <p:cNvPr id="34" name="Content Placeholder 2"/>
          <p:cNvSpPr txBox="1">
            <a:spLocks/>
          </p:cNvSpPr>
          <p:nvPr/>
        </p:nvSpPr>
        <p:spPr>
          <a:xfrm>
            <a:off x="866" y="2109309"/>
            <a:ext cx="11323537" cy="3037517"/>
          </a:xfrm>
          <a:prstGeom prst="rect">
            <a:avLst/>
          </a:prstGeom>
          <a:solidFill>
            <a:schemeClr val="accent1"/>
          </a:solidFill>
        </p:spPr>
        <p:txBody>
          <a:bodyPr vert="horz" wrap="square" lIns="439338" tIns="175736" rIns="179059" bIns="17573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175"/>
              </a:spcAft>
              <a:buNone/>
            </a:pPr>
            <a:r>
              <a:rPr lang="en-US" sz="3136" dirty="0">
                <a:solidFill>
                  <a:srgbClr val="FFFFFF"/>
                </a:solidFill>
              </a:rPr>
              <a:t>Delivers a Cloud Infrastructure Appliance </a:t>
            </a:r>
            <a:br>
              <a:rPr lang="en-US" sz="3136" dirty="0">
                <a:solidFill>
                  <a:srgbClr val="FFFFFF"/>
                </a:solidFill>
              </a:rPr>
            </a:br>
            <a:r>
              <a:rPr lang="en-US" sz="3136" dirty="0">
                <a:solidFill>
                  <a:srgbClr val="FFFFFF"/>
                </a:solidFill>
              </a:rPr>
              <a:t>for self-service </a:t>
            </a:r>
            <a:r>
              <a:rPr lang="en-US" sz="3136" dirty="0" err="1">
                <a:solidFill>
                  <a:srgbClr val="FFFFFF"/>
                </a:solidFill>
              </a:rPr>
              <a:t>IaaS</a:t>
            </a:r>
            <a:r>
              <a:rPr lang="en-US" sz="3136" dirty="0">
                <a:solidFill>
                  <a:srgbClr val="FFFFFF"/>
                </a:solidFill>
              </a:rPr>
              <a:t> and </a:t>
            </a:r>
            <a:r>
              <a:rPr lang="en-US" sz="3136" dirty="0" err="1">
                <a:solidFill>
                  <a:srgbClr val="FFFFFF"/>
                </a:solidFill>
              </a:rPr>
              <a:t>PaaS</a:t>
            </a:r>
            <a:r>
              <a:rPr lang="en-US" sz="3136" dirty="0">
                <a:solidFill>
                  <a:srgbClr val="FFFFFF"/>
                </a:solidFill>
              </a:rPr>
              <a:t> workloads</a:t>
            </a:r>
          </a:p>
          <a:p>
            <a:pPr marL="0" lvl="1" indent="0" defTabSz="914139">
              <a:lnSpc>
                <a:spcPct val="100000"/>
              </a:lnSpc>
              <a:spcBef>
                <a:spcPts val="0"/>
              </a:spcBef>
              <a:spcAft>
                <a:spcPts val="588"/>
              </a:spcAft>
              <a:buSzPct val="100000"/>
              <a:buNone/>
            </a:pPr>
            <a:r>
              <a:rPr lang="en-US" sz="1800" dirty="0">
                <a:solidFill>
                  <a:srgbClr val="FFFFFF"/>
                </a:solidFill>
                <a:latin typeface="Segoe UI Light"/>
              </a:rPr>
              <a:t>Cloud OS on-</a:t>
            </a:r>
            <a:r>
              <a:rPr lang="en-US" sz="1800" dirty="0" err="1">
                <a:solidFill>
                  <a:srgbClr val="FFFFFF"/>
                </a:solidFill>
                <a:latin typeface="Segoe UI Light"/>
              </a:rPr>
              <a:t>prem</a:t>
            </a:r>
            <a:r>
              <a:rPr lang="en-US" sz="1800" dirty="0">
                <a:solidFill>
                  <a:srgbClr val="FFFFFF"/>
                </a:solidFill>
                <a:latin typeface="Segoe UI Light"/>
              </a:rPr>
              <a:t>: Azure Pack, Windows Server &amp; System Center </a:t>
            </a:r>
          </a:p>
          <a:p>
            <a:pPr marL="0" lvl="1" indent="0" defTabSz="914139">
              <a:lnSpc>
                <a:spcPct val="100000"/>
              </a:lnSpc>
              <a:spcBef>
                <a:spcPts val="0"/>
              </a:spcBef>
              <a:spcAft>
                <a:spcPts val="588"/>
              </a:spcAft>
              <a:buSzPct val="100000"/>
              <a:buNone/>
            </a:pPr>
            <a:r>
              <a:rPr lang="en-US" sz="1800" dirty="0">
                <a:solidFill>
                  <a:srgbClr val="FFFFFF"/>
                </a:solidFill>
                <a:latin typeface="Segoe UI Light"/>
              </a:rPr>
              <a:t>Microsoft-validated hardware and software</a:t>
            </a:r>
          </a:p>
          <a:p>
            <a:pPr marL="0" lvl="1" indent="0" defTabSz="914139">
              <a:lnSpc>
                <a:spcPct val="100000"/>
              </a:lnSpc>
              <a:spcBef>
                <a:spcPts val="0"/>
              </a:spcBef>
              <a:spcAft>
                <a:spcPts val="588"/>
              </a:spcAft>
              <a:buSzPct val="100000"/>
              <a:buNone/>
            </a:pPr>
            <a:r>
              <a:rPr lang="en-US" sz="1800" dirty="0">
                <a:solidFill>
                  <a:srgbClr val="FFFFFF"/>
                </a:solidFill>
                <a:latin typeface="Segoe UI Light"/>
              </a:rPr>
              <a:t>Optimized for hosting Microsoft applications</a:t>
            </a: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342426" y="781535"/>
            <a:ext cx="4848711" cy="5789300"/>
          </a:xfrm>
          <a:prstGeom prst="rect">
            <a:avLst/>
          </a:prstGeom>
        </p:spPr>
      </p:pic>
    </p:spTree>
    <p:extLst>
      <p:ext uri="{BB962C8B-B14F-4D97-AF65-F5344CB8AC3E}">
        <p14:creationId xmlns:p14="http://schemas.microsoft.com/office/powerpoint/2010/main" val="18199511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2000" fill="hold"/>
                                        <p:tgtEl>
                                          <p:spTgt spid="34"/>
                                        </p:tgtEl>
                                        <p:attrNameLst>
                                          <p:attrName>ppt_x</p:attrName>
                                        </p:attrNameLst>
                                      </p:cBhvr>
                                      <p:tavLst>
                                        <p:tav tm="0">
                                          <p:val>
                                            <p:strVal val="1+#ppt_w/2"/>
                                          </p:val>
                                        </p:tav>
                                        <p:tav tm="100000">
                                          <p:val>
                                            <p:strVal val="#ppt_x"/>
                                          </p:val>
                                        </p:tav>
                                      </p:tavLst>
                                    </p:anim>
                                    <p:anim calcmode="lin" valueType="num">
                                      <p:cBhvr additive="base">
                                        <p:cTn id="8" dur="2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2">
            <a:lumMod val="90000"/>
          </a:schemeClr>
        </a:solidFill>
        <a:effectLst/>
      </p:bgPr>
    </p:bg>
    <p:spTree>
      <p:nvGrpSpPr>
        <p:cNvPr id="1" name=""/>
        <p:cNvGrpSpPr/>
        <p:nvPr/>
      </p:nvGrpSpPr>
      <p:grpSpPr>
        <a:xfrm>
          <a:off x="0" y="0"/>
          <a:ext cx="0" cy="0"/>
          <a:chOff x="0" y="0"/>
          <a:chExt cx="0" cy="0"/>
        </a:xfrm>
      </p:grpSpPr>
      <p:sp>
        <p:nvSpPr>
          <p:cNvPr id="2" name="Rectangle 1"/>
          <p:cNvSpPr/>
          <p:nvPr/>
        </p:nvSpPr>
        <p:spPr bwMode="auto">
          <a:xfrm>
            <a:off x="607643" y="177456"/>
            <a:ext cx="11651870" cy="638856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913927" fontAlgn="base">
              <a:lnSpc>
                <a:spcPct val="90000"/>
              </a:lnSpc>
              <a:spcBef>
                <a:spcPct val="0"/>
              </a:spcBef>
              <a:spcAft>
                <a:spcPct val="0"/>
              </a:spcAft>
            </a:pPr>
            <a:endParaRPr lang="en-US" sz="1961" dirty="0">
              <a:gradFill>
                <a:gsLst>
                  <a:gs pos="0">
                    <a:srgbClr val="FFFFFF"/>
                  </a:gs>
                  <a:gs pos="100000">
                    <a:srgbClr val="FFFFFF"/>
                  </a:gs>
                </a:gsLst>
                <a:lin ang="5400000" scaled="0"/>
              </a:gradFill>
            </a:endParaRPr>
          </a:p>
        </p:txBody>
      </p:sp>
      <p:sp>
        <p:nvSpPr>
          <p:cNvPr id="4" name="Rectangle 3"/>
          <p:cNvSpPr/>
          <p:nvPr/>
        </p:nvSpPr>
        <p:spPr bwMode="auto">
          <a:xfrm>
            <a:off x="270063" y="650282"/>
            <a:ext cx="6948454" cy="68570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889" tIns="143407" rIns="179259" bIns="143407" numCol="1" rtlCol="0" anchor="t" anchorCtr="0" compatLnSpc="1">
            <a:prstTxWarp prst="textNoShape">
              <a:avLst/>
            </a:prstTxWarp>
            <a:noAutofit/>
          </a:bodyPr>
          <a:lstStyle/>
          <a:p>
            <a:pPr defTabSz="913927" fontAlgn="base">
              <a:lnSpc>
                <a:spcPct val="90000"/>
              </a:lnSpc>
            </a:pPr>
            <a:endPar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5" name="97B Original" hidden="1"/>
          <p:cNvGrpSpPr/>
          <p:nvPr/>
        </p:nvGrpSpPr>
        <p:grpSpPr>
          <a:xfrm>
            <a:off x="815621" y="-3754232"/>
            <a:ext cx="4062422" cy="3280872"/>
            <a:chOff x="831211" y="1413160"/>
            <a:chExt cx="4144470" cy="3347134"/>
          </a:xfrm>
        </p:grpSpPr>
        <p:sp>
          <p:nvSpPr>
            <p:cNvPr id="9" name="Rectangle 8"/>
            <p:cNvSpPr/>
            <p:nvPr/>
          </p:nvSpPr>
          <p:spPr bwMode="auto">
            <a:xfrm>
              <a:off x="831211" y="1413160"/>
              <a:ext cx="4144470" cy="259449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43407" tIns="143407" rIns="0" bIns="143407" numCol="1" rtlCol="0" anchor="t" anchorCtr="0" compatLnSpc="1">
              <a:prstTxWarp prst="textNoShape">
                <a:avLst/>
              </a:prstTxWarp>
              <a:spAutoFit/>
            </a:bodyPr>
            <a:lstStyle/>
            <a:p>
              <a:pPr defTabSz="914192" fontAlgn="base">
                <a:lnSpc>
                  <a:spcPct val="90000"/>
                </a:lnSpc>
              </a:pPr>
              <a:r>
                <a:rPr lang="en-US" sz="16270" spc="-784" dirty="0">
                  <a:gradFill>
                    <a:gsLst>
                      <a:gs pos="94690">
                        <a:srgbClr val="DC3C00"/>
                      </a:gs>
                      <a:gs pos="56000">
                        <a:srgbClr val="DC3C00"/>
                      </a:gs>
                    </a:gsLst>
                    <a:lin ang="5400000" scaled="0"/>
                  </a:gradFill>
                  <a:latin typeface="Segoe UI Light"/>
                </a:rPr>
                <a:t>$97B</a:t>
              </a:r>
            </a:p>
          </p:txBody>
        </p:sp>
        <p:sp>
          <p:nvSpPr>
            <p:cNvPr id="30" name="Rectangle 29"/>
            <p:cNvSpPr/>
            <p:nvPr/>
          </p:nvSpPr>
          <p:spPr bwMode="auto">
            <a:xfrm>
              <a:off x="945832" y="3560920"/>
              <a:ext cx="4012763" cy="11993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3136" spc="-39" dirty="0">
                  <a:gradFill>
                    <a:gsLst>
                      <a:gs pos="38053">
                        <a:srgbClr val="000000">
                          <a:lumMod val="85000"/>
                          <a:lumOff val="15000"/>
                        </a:srgbClr>
                      </a:gs>
                      <a:gs pos="56000">
                        <a:srgbClr val="000000">
                          <a:lumMod val="85000"/>
                          <a:lumOff val="15000"/>
                        </a:srgbClr>
                      </a:gs>
                    </a:gsLst>
                    <a:lin ang="5400000" scaled="0"/>
                  </a:gradFill>
                  <a:latin typeface="Segoe UI Semilight" panose="020B0402040204020203" pitchFamily="34" charset="0"/>
                  <a:cs typeface="Segoe UI Semilight" panose="020B0402040204020203" pitchFamily="34" charset="0"/>
                </a:rPr>
                <a:t>Global cloud market in 2015</a:t>
              </a:r>
            </a:p>
          </p:txBody>
        </p:sp>
      </p:grpSp>
      <p:grpSp>
        <p:nvGrpSpPr>
          <p:cNvPr id="8" name="46% original" hidden="1"/>
          <p:cNvGrpSpPr/>
          <p:nvPr/>
        </p:nvGrpSpPr>
        <p:grpSpPr>
          <a:xfrm>
            <a:off x="5756551" y="-3754232"/>
            <a:ext cx="4905853" cy="3280872"/>
            <a:chOff x="5871931" y="1413160"/>
            <a:chExt cx="5004936" cy="3347134"/>
          </a:xfrm>
        </p:grpSpPr>
        <p:sp>
          <p:nvSpPr>
            <p:cNvPr id="10" name="Rectangle 9"/>
            <p:cNvSpPr/>
            <p:nvPr/>
          </p:nvSpPr>
          <p:spPr bwMode="auto">
            <a:xfrm>
              <a:off x="5908063" y="3560920"/>
              <a:ext cx="4968804" cy="1199374"/>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3136" spc="-39" dirty="0">
                  <a:gradFill>
                    <a:gsLst>
                      <a:gs pos="38053">
                        <a:srgbClr val="000000">
                          <a:lumMod val="85000"/>
                          <a:lumOff val="15000"/>
                        </a:srgbClr>
                      </a:gs>
                      <a:gs pos="56000">
                        <a:srgbClr val="000000">
                          <a:lumMod val="85000"/>
                          <a:lumOff val="15000"/>
                        </a:srgbClr>
                      </a:gs>
                    </a:gsLst>
                    <a:lin ang="5400000" scaled="0"/>
                  </a:gradFill>
                  <a:latin typeface="Segoe UI Semilight" panose="020B0402040204020203" pitchFamily="34" charset="0"/>
                  <a:cs typeface="Segoe UI Semilight" panose="020B0402040204020203" pitchFamily="34" charset="0"/>
                </a:rPr>
                <a:t>Public cloud service of net new growth in IT spend</a:t>
              </a:r>
            </a:p>
          </p:txBody>
        </p:sp>
        <p:sp>
          <p:nvSpPr>
            <p:cNvPr id="28" name="Rectangle 27"/>
            <p:cNvSpPr/>
            <p:nvPr/>
          </p:nvSpPr>
          <p:spPr bwMode="auto">
            <a:xfrm>
              <a:off x="5871931" y="1413160"/>
              <a:ext cx="4254322" cy="264026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t" anchorCtr="0" compatLnSpc="1">
              <a:prstTxWarp prst="textNoShape">
                <a:avLst/>
              </a:prstTxWarp>
              <a:spAutoFit/>
            </a:bodyPr>
            <a:lstStyle/>
            <a:p>
              <a:pPr defTabSz="914192" fontAlgn="base">
                <a:lnSpc>
                  <a:spcPct val="90000"/>
                </a:lnSpc>
              </a:pPr>
              <a:r>
                <a:rPr lang="en-US" sz="16270" spc="-294" dirty="0">
                  <a:gradFill>
                    <a:gsLst>
                      <a:gs pos="94690">
                        <a:srgbClr val="DC3C00"/>
                      </a:gs>
                      <a:gs pos="56000">
                        <a:srgbClr val="DC3C00"/>
                      </a:gs>
                    </a:gsLst>
                    <a:lin ang="5400000" scaled="0"/>
                  </a:gradFill>
                  <a:latin typeface="Segoe UI Light"/>
                </a:rPr>
                <a:t>46</a:t>
              </a:r>
              <a:r>
                <a:rPr lang="en-US" sz="11271" spc="-294" dirty="0">
                  <a:gradFill>
                    <a:gsLst>
                      <a:gs pos="94690">
                        <a:srgbClr val="DC3C00"/>
                      </a:gs>
                      <a:gs pos="56000">
                        <a:srgbClr val="DC3C00"/>
                      </a:gs>
                    </a:gsLst>
                    <a:lin ang="5400000" scaled="0"/>
                  </a:gradFill>
                  <a:latin typeface="Segoe UI Light"/>
                </a:rPr>
                <a:t>%</a:t>
              </a:r>
              <a:endParaRPr lang="en-US" sz="16270" spc="-294" dirty="0">
                <a:gradFill>
                  <a:gsLst>
                    <a:gs pos="94690">
                      <a:srgbClr val="DC3C00"/>
                    </a:gs>
                    <a:gs pos="56000">
                      <a:srgbClr val="DC3C00"/>
                    </a:gs>
                  </a:gsLst>
                  <a:lin ang="5400000" scaled="0"/>
                </a:gradFill>
                <a:latin typeface="Segoe UI Light"/>
              </a:endParaRPr>
            </a:p>
          </p:txBody>
        </p:sp>
      </p:grpSp>
      <p:sp>
        <p:nvSpPr>
          <p:cNvPr id="29" name="Rectangle 28"/>
          <p:cNvSpPr/>
          <p:nvPr/>
        </p:nvSpPr>
        <p:spPr bwMode="auto">
          <a:xfrm>
            <a:off x="270065" y="658267"/>
            <a:ext cx="6948451" cy="6697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889" tIns="143407" rIns="179259" bIns="143407" numCol="1" rtlCol="0" anchor="t" anchorCtr="0" compatLnSpc="1">
            <a:prstTxWarp prst="textNoShape">
              <a:avLst/>
            </a:prstTxWarp>
            <a:spAutoFit/>
          </a:bodyPr>
          <a:lstStyle/>
          <a:p>
            <a:pPr defTabSz="913927" fontAlgn="base">
              <a:lnSpc>
                <a:spcPct val="90000"/>
              </a:lnSpc>
            </a:pPr>
            <a:r>
              <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rPr>
              <a:t>CPS - Software</a:t>
            </a:r>
            <a:endPar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endParaRPr>
          </a:p>
        </p:txBody>
      </p:sp>
      <p:grpSp>
        <p:nvGrpSpPr>
          <p:cNvPr id="6" name="Group 5"/>
          <p:cNvGrpSpPr/>
          <p:nvPr/>
        </p:nvGrpSpPr>
        <p:grpSpPr>
          <a:xfrm>
            <a:off x="704797" y="1727321"/>
            <a:ext cx="6556505" cy="4714777"/>
            <a:chOff x="718928" y="1761461"/>
            <a:chExt cx="6687977" cy="4809318"/>
          </a:xfrm>
          <a:solidFill>
            <a:schemeClr val="tx1">
              <a:lumMod val="50000"/>
              <a:lumOff val="50000"/>
            </a:schemeClr>
          </a:solidFill>
        </p:grpSpPr>
        <p:sp>
          <p:nvSpPr>
            <p:cNvPr id="17" name="Rectangle 16"/>
            <p:cNvSpPr/>
            <p:nvPr/>
          </p:nvSpPr>
          <p:spPr>
            <a:xfrm>
              <a:off x="724850" y="5409607"/>
              <a:ext cx="6682054" cy="116117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OEM </a:t>
              </a:r>
              <a:r>
                <a:rPr lang="en-US" sz="1372" dirty="0">
                  <a:solidFill>
                    <a:srgbClr val="FFFFFF"/>
                  </a:solidFill>
                  <a:latin typeface="Century Gothic" panose="020B0502020202020204" pitchFamily="34" charset="0"/>
                </a:rPr>
                <a:t>HARDWARE </a:t>
              </a:r>
              <a:r>
                <a:rPr lang="en-US" sz="1372" dirty="0">
                  <a:solidFill>
                    <a:srgbClr val="FFFFFF"/>
                  </a:solidFill>
                  <a:latin typeface="Century Gothic" panose="020B0502020202020204" pitchFamily="34" charset="0"/>
                </a:rPr>
                <a:t>INFRASTRUCTURE</a:t>
              </a:r>
            </a:p>
          </p:txBody>
        </p:sp>
        <p:sp>
          <p:nvSpPr>
            <p:cNvPr id="18" name="Rectangle 17"/>
            <p:cNvSpPr/>
            <p:nvPr/>
          </p:nvSpPr>
          <p:spPr>
            <a:xfrm>
              <a:off x="721745" y="4412105"/>
              <a:ext cx="2184773" cy="8982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58555" algn="ctr" defTabSz="914367"/>
              <a:r>
                <a:rPr lang="en-US" sz="1372" dirty="0">
                  <a:solidFill>
                    <a:srgbClr val="FFFFFF"/>
                  </a:solidFill>
                  <a:latin typeface="Century Gothic" panose="020B0502020202020204" pitchFamily="34" charset="0"/>
                </a:rPr>
                <a:t>SOFS / SMB 3.0 &amp; </a:t>
              </a:r>
              <a:br>
                <a:rPr lang="en-US" sz="1372" dirty="0">
                  <a:solidFill>
                    <a:srgbClr val="FFFFFF"/>
                  </a:solidFill>
                  <a:latin typeface="Century Gothic" panose="020B0502020202020204" pitchFamily="34" charset="0"/>
                </a:rPr>
              </a:br>
              <a:r>
                <a:rPr lang="en-US" sz="1372" dirty="0">
                  <a:solidFill>
                    <a:srgbClr val="FFFFFF"/>
                  </a:solidFill>
                  <a:latin typeface="Century Gothic" panose="020B0502020202020204" pitchFamily="34" charset="0"/>
                </a:rPr>
                <a:t>STORAGE</a:t>
              </a:r>
              <a:r>
                <a:rPr lang="en-US" sz="1372" dirty="0">
                  <a:solidFill>
                    <a:srgbClr val="FFFFFF"/>
                  </a:solidFill>
                  <a:latin typeface="Century Gothic" panose="020B0502020202020204" pitchFamily="34" charset="0"/>
                </a:rPr>
                <a:t> </a:t>
              </a:r>
              <a:r>
                <a:rPr lang="en-US" sz="1372" dirty="0">
                  <a:solidFill>
                    <a:srgbClr val="FFFFFF"/>
                  </a:solidFill>
                  <a:latin typeface="Century Gothic" panose="020B0502020202020204" pitchFamily="34" charset="0"/>
                </a:rPr>
                <a:t>SPACES</a:t>
              </a:r>
              <a:endParaRPr lang="en-US" sz="1372" dirty="0">
                <a:solidFill>
                  <a:srgbClr val="FFFFFF"/>
                </a:solidFill>
                <a:latin typeface="Century Gothic" panose="020B0502020202020204" pitchFamily="34" charset="0"/>
              </a:endParaRPr>
            </a:p>
          </p:txBody>
        </p:sp>
        <p:sp>
          <p:nvSpPr>
            <p:cNvPr id="19" name="Rectangle 18"/>
            <p:cNvSpPr/>
            <p:nvPr/>
          </p:nvSpPr>
          <p:spPr>
            <a:xfrm>
              <a:off x="2971938" y="4412105"/>
              <a:ext cx="2184773" cy="8982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HYPER-V</a:t>
              </a:r>
            </a:p>
            <a:p>
              <a:pPr algn="ctr" defTabSz="914367"/>
              <a:r>
                <a:rPr lang="en-US" sz="1372" dirty="0">
                  <a:solidFill>
                    <a:srgbClr val="FFFFFF"/>
                  </a:solidFill>
                  <a:latin typeface="Century Gothic" panose="020B0502020202020204" pitchFamily="34" charset="0"/>
                </a:rPr>
                <a:t>HOSTS</a:t>
              </a:r>
            </a:p>
          </p:txBody>
        </p:sp>
        <p:pic>
          <p:nvPicPr>
            <p:cNvPr id="20" name="Picture 1" descr="3d 512x51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71937" y="4388866"/>
              <a:ext cx="599655" cy="599655"/>
            </a:xfrm>
            <a:prstGeom prst="rect">
              <a:avLst/>
            </a:prstGeom>
            <a:grpFill/>
            <a:ln>
              <a:noFill/>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1" name="Rectangle 20"/>
            <p:cNvSpPr/>
            <p:nvPr/>
          </p:nvSpPr>
          <p:spPr>
            <a:xfrm>
              <a:off x="5222131" y="4412105"/>
              <a:ext cx="2184773" cy="8982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HYPER-V</a:t>
              </a:r>
            </a:p>
            <a:p>
              <a:pPr algn="ctr" defTabSz="914367"/>
              <a:r>
                <a:rPr lang="en-US" sz="1372" dirty="0">
                  <a:solidFill>
                    <a:srgbClr val="FFFFFF"/>
                  </a:solidFill>
                  <a:latin typeface="Century Gothic" panose="020B0502020202020204" pitchFamily="34" charset="0"/>
                </a:rPr>
                <a:t>NETWORKING</a:t>
              </a:r>
            </a:p>
          </p:txBody>
        </p:sp>
        <p:pic>
          <p:nvPicPr>
            <p:cNvPr id="22" name="Picture 6"/>
            <p:cNvPicPr>
              <a:picLocks noChangeAspect="1" noChangeArrowheads="1"/>
            </p:cNvPicPr>
            <p:nvPr/>
          </p:nvPicPr>
          <p:blipFill>
            <a:blip r:embed="rId4">
              <a:lum bright="70000" contrast="-70000"/>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830671" y="4496831"/>
              <a:ext cx="333446" cy="44232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L-Shape 22"/>
            <p:cNvSpPr/>
            <p:nvPr/>
          </p:nvSpPr>
          <p:spPr>
            <a:xfrm>
              <a:off x="721745" y="3228487"/>
              <a:ext cx="6685160" cy="1088026"/>
            </a:xfrm>
            <a:prstGeom prst="corner">
              <a:avLst>
                <a:gd name="adj1" fmla="val 33928"/>
                <a:gd name="adj2" fmla="val 15039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372">
                <a:solidFill>
                  <a:srgbClr val="FFFFFF"/>
                </a:solidFill>
                <a:latin typeface="Century Gothic" panose="020B0502020202020204" pitchFamily="34" charset="0"/>
              </a:endParaRPr>
            </a:p>
          </p:txBody>
        </p:sp>
        <p:sp>
          <p:nvSpPr>
            <p:cNvPr id="24" name="Rectangle 23"/>
            <p:cNvSpPr/>
            <p:nvPr/>
          </p:nvSpPr>
          <p:spPr>
            <a:xfrm>
              <a:off x="2410032" y="3228486"/>
              <a:ext cx="1629614" cy="6429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WEB</a:t>
              </a:r>
            </a:p>
            <a:p>
              <a:pPr algn="ctr" defTabSz="914367"/>
              <a:r>
                <a:rPr lang="en-US" sz="1372" dirty="0">
                  <a:solidFill>
                    <a:srgbClr val="FFFFFF"/>
                  </a:solidFill>
                  <a:latin typeface="Century Gothic" panose="020B0502020202020204" pitchFamily="34" charset="0"/>
                </a:rPr>
                <a:t>SITES</a:t>
              </a:r>
            </a:p>
          </p:txBody>
        </p:sp>
        <p:sp>
          <p:nvSpPr>
            <p:cNvPr id="25" name="Rectangle 24"/>
            <p:cNvSpPr/>
            <p:nvPr/>
          </p:nvSpPr>
          <p:spPr>
            <a:xfrm>
              <a:off x="4093660" y="3228486"/>
              <a:ext cx="1629614" cy="6429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SERVICE</a:t>
              </a:r>
            </a:p>
            <a:p>
              <a:pPr algn="ctr" defTabSz="914367"/>
              <a:r>
                <a:rPr lang="en-US" sz="1372" dirty="0">
                  <a:solidFill>
                    <a:srgbClr val="FFFFFF"/>
                  </a:solidFill>
                  <a:latin typeface="Century Gothic" panose="020B0502020202020204" pitchFamily="34" charset="0"/>
                </a:rPr>
                <a:t>BUS</a:t>
              </a:r>
            </a:p>
          </p:txBody>
        </p:sp>
        <p:sp>
          <p:nvSpPr>
            <p:cNvPr id="26" name="Rectangle 25"/>
            <p:cNvSpPr/>
            <p:nvPr/>
          </p:nvSpPr>
          <p:spPr>
            <a:xfrm>
              <a:off x="5777290" y="3228486"/>
              <a:ext cx="1629614" cy="6429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SQL</a:t>
              </a:r>
            </a:p>
            <a:p>
              <a:pPr algn="ctr" defTabSz="914367"/>
              <a:r>
                <a:rPr lang="en-US" sz="1372" dirty="0">
                  <a:solidFill>
                    <a:srgbClr val="FFFFFF"/>
                  </a:solidFill>
                  <a:latin typeface="Century Gothic" panose="020B0502020202020204" pitchFamily="34" charset="0"/>
                </a:rPr>
                <a:t>SERVER</a:t>
              </a:r>
            </a:p>
          </p:txBody>
        </p:sp>
        <p:sp>
          <p:nvSpPr>
            <p:cNvPr id="27" name="Rectangle 26"/>
            <p:cNvSpPr/>
            <p:nvPr/>
          </p:nvSpPr>
          <p:spPr>
            <a:xfrm>
              <a:off x="726403" y="3228487"/>
              <a:ext cx="1629614" cy="5731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VIRTUAL</a:t>
              </a:r>
            </a:p>
            <a:p>
              <a:pPr algn="ctr" defTabSz="914367"/>
              <a:r>
                <a:rPr lang="en-US" sz="1372" dirty="0">
                  <a:solidFill>
                    <a:srgbClr val="FFFFFF"/>
                  </a:solidFill>
                  <a:latin typeface="Century Gothic" panose="020B0502020202020204" pitchFamily="34" charset="0"/>
                </a:rPr>
                <a:t>MACHINES</a:t>
              </a:r>
            </a:p>
          </p:txBody>
        </p:sp>
        <p:pic>
          <p:nvPicPr>
            <p:cNvPr id="32" name="Picture 31"/>
            <p:cNvPicPr>
              <a:picLocks noChangeAspect="1"/>
            </p:cNvPicPr>
            <p:nvPr/>
          </p:nvPicPr>
          <p:blipFill>
            <a:blip r:embed="rId6"/>
            <a:stretch>
              <a:fillRect/>
            </a:stretch>
          </p:blipFill>
          <p:spPr>
            <a:xfrm>
              <a:off x="5276394" y="4533399"/>
              <a:ext cx="574246" cy="318490"/>
            </a:xfrm>
            <a:prstGeom prst="rect">
              <a:avLst/>
            </a:prstGeom>
            <a:grpFill/>
          </p:spPr>
        </p:pic>
        <p:sp>
          <p:nvSpPr>
            <p:cNvPr id="36" name="Rectangle 35"/>
            <p:cNvSpPr/>
            <p:nvPr/>
          </p:nvSpPr>
          <p:spPr>
            <a:xfrm>
              <a:off x="724850" y="2906641"/>
              <a:ext cx="6682054" cy="2226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SERVICE MANAGEMENT API</a:t>
              </a:r>
            </a:p>
          </p:txBody>
        </p:sp>
        <p:sp>
          <p:nvSpPr>
            <p:cNvPr id="37" name="Rectangle 36"/>
            <p:cNvSpPr/>
            <p:nvPr/>
          </p:nvSpPr>
          <p:spPr>
            <a:xfrm>
              <a:off x="718928" y="1761461"/>
              <a:ext cx="3320718" cy="10459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PROVIDER</a:t>
              </a:r>
            </a:p>
            <a:p>
              <a:pPr algn="ctr" defTabSz="914367"/>
              <a:r>
                <a:rPr lang="en-US" sz="1372" dirty="0">
                  <a:solidFill>
                    <a:srgbClr val="FFFFFF"/>
                  </a:solidFill>
                  <a:latin typeface="Century Gothic" panose="020B0502020202020204" pitchFamily="34" charset="0"/>
                </a:rPr>
                <a:t>PORTAL</a:t>
              </a:r>
            </a:p>
          </p:txBody>
        </p:sp>
        <p:sp>
          <p:nvSpPr>
            <p:cNvPr id="38" name="Rectangle 37"/>
            <p:cNvSpPr/>
            <p:nvPr/>
          </p:nvSpPr>
          <p:spPr>
            <a:xfrm>
              <a:off x="4093660" y="1761461"/>
              <a:ext cx="3313244" cy="104594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r>
                <a:rPr lang="en-US" sz="1372" dirty="0">
                  <a:solidFill>
                    <a:srgbClr val="FFFFFF"/>
                  </a:solidFill>
                  <a:latin typeface="Century Gothic" panose="020B0502020202020204" pitchFamily="34" charset="0"/>
                </a:rPr>
                <a:t>TENANT</a:t>
              </a:r>
            </a:p>
            <a:p>
              <a:pPr algn="ctr" defTabSz="914367"/>
              <a:r>
                <a:rPr lang="en-US" sz="1372" dirty="0">
                  <a:solidFill>
                    <a:srgbClr val="FFFFFF"/>
                  </a:solidFill>
                  <a:latin typeface="Century Gothic" panose="020B0502020202020204" pitchFamily="34" charset="0"/>
                </a:rPr>
                <a:t>PORTAL</a:t>
              </a:r>
            </a:p>
          </p:txBody>
        </p:sp>
        <p:pic>
          <p:nvPicPr>
            <p:cNvPr id="39" name="Picture 16" descr="Users  alt 512x51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66845" y="1769546"/>
              <a:ext cx="741623" cy="692025"/>
            </a:xfrm>
            <a:prstGeom prst="rect">
              <a:avLst/>
            </a:prstGeom>
            <a:grpFill/>
            <a:ln>
              <a:noFill/>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0" name="Picture 4" descr="Adressbook 512x512.pn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0670" y="1858719"/>
              <a:ext cx="533059" cy="533059"/>
            </a:xfrm>
            <a:prstGeom prst="rect">
              <a:avLst/>
            </a:prstGeom>
            <a:grpFill/>
            <a:ln>
              <a:noFill/>
            </a:ln>
            <a:effectLst/>
            <a:extLs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sp>
        <p:nvSpPr>
          <p:cNvPr id="34" name="TextBox 33"/>
          <p:cNvSpPr txBox="1"/>
          <p:nvPr/>
        </p:nvSpPr>
        <p:spPr>
          <a:xfrm>
            <a:off x="7385999" y="710818"/>
            <a:ext cx="4685037" cy="5829315"/>
          </a:xfrm>
          <a:prstGeom prst="rect">
            <a:avLst/>
          </a:prstGeom>
          <a:solidFill>
            <a:schemeClr val="bg1">
              <a:lumMod val="50000"/>
            </a:schemeClr>
          </a:solidFill>
        </p:spPr>
        <p:txBody>
          <a:bodyPr wrap="square" lIns="179285" tIns="143428" rIns="179285" bIns="143428" rtlCol="0">
            <a:spAutoFit/>
          </a:bodyPr>
          <a:lstStyle/>
          <a:p>
            <a:pPr marL="336145" indent="-336145" defTabSz="914367">
              <a:lnSpc>
                <a:spcPct val="90000"/>
              </a:lnSpc>
              <a:spcAft>
                <a:spcPts val="588"/>
              </a:spcAft>
              <a:buFont typeface="Arial" panose="020B0604020202020204" pitchFamily="34" charset="0"/>
              <a:buChar char="•"/>
            </a:pPr>
            <a:r>
              <a:rPr lang="en-US" sz="1961" dirty="0">
                <a:solidFill>
                  <a:srgbClr val="FFFFFF"/>
                </a:solidFill>
              </a:rPr>
              <a:t>Pre-Deployed Infrastructure</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Switches, Load Balancer, Storage, Compute, Network Edge</a:t>
            </a:r>
          </a:p>
          <a:p>
            <a:pPr marL="336145" indent="-336145" defTabSz="914367">
              <a:lnSpc>
                <a:spcPct val="90000"/>
              </a:lnSpc>
              <a:spcAft>
                <a:spcPts val="588"/>
              </a:spcAft>
              <a:buFont typeface="Arial" panose="020B0604020202020204" pitchFamily="34" charset="0"/>
              <a:buChar char="•"/>
            </a:pPr>
            <a:r>
              <a:rPr lang="en-US" sz="1961" dirty="0">
                <a:solidFill>
                  <a:srgbClr val="FFFFFF"/>
                </a:solidFill>
              </a:rPr>
              <a:t>N + 2 fault tolerance (N +1 for networking)</a:t>
            </a:r>
          </a:p>
          <a:p>
            <a:pPr marL="336145" indent="-336145" defTabSz="914367">
              <a:lnSpc>
                <a:spcPct val="90000"/>
              </a:lnSpc>
              <a:spcAft>
                <a:spcPts val="588"/>
              </a:spcAft>
              <a:buFont typeface="Arial" panose="020B0604020202020204" pitchFamily="34" charset="0"/>
              <a:buChar char="•"/>
            </a:pPr>
            <a:r>
              <a:rPr lang="en-US" sz="1961" dirty="0">
                <a:solidFill>
                  <a:srgbClr val="FFFFFF"/>
                </a:solidFill>
              </a:rPr>
              <a:t>Pre-configured as per best practices</a:t>
            </a:r>
          </a:p>
          <a:p>
            <a:pPr marL="336145" indent="-336145" defTabSz="914367">
              <a:lnSpc>
                <a:spcPct val="90000"/>
              </a:lnSpc>
              <a:spcAft>
                <a:spcPts val="588"/>
              </a:spcAft>
              <a:buFont typeface="Arial" panose="020B0604020202020204" pitchFamily="34" charset="0"/>
              <a:buChar char="•"/>
            </a:pPr>
            <a:r>
              <a:rPr lang="en-US" sz="1961" dirty="0">
                <a:solidFill>
                  <a:srgbClr val="FFFFFF"/>
                </a:solidFill>
              </a:rPr>
              <a:t>Integrated Management </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Configure, deploy, patching</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Monitoring</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Backup and DR</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IaaS provider</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Automation</a:t>
            </a:r>
          </a:p>
          <a:p>
            <a:pPr marL="793328" lvl="1" indent="-336145" defTabSz="914367">
              <a:lnSpc>
                <a:spcPct val="90000"/>
              </a:lnSpc>
              <a:spcAft>
                <a:spcPts val="588"/>
              </a:spcAft>
              <a:buFont typeface="Arial" panose="020B0604020202020204" pitchFamily="34" charset="0"/>
              <a:buChar char="•"/>
            </a:pPr>
            <a:r>
              <a:rPr lang="en-US" sz="1961" dirty="0">
                <a:solidFill>
                  <a:srgbClr val="FFFFFF"/>
                </a:solidFill>
              </a:rPr>
              <a:t>Tenant Portal</a:t>
            </a:r>
            <a:endParaRPr lang="en-US" sz="1961" dirty="0">
              <a:solidFill>
                <a:srgbClr val="FFFFFF"/>
              </a:solidFill>
            </a:endParaRPr>
          </a:p>
          <a:p>
            <a:pPr marL="336145" indent="-336145" defTabSz="914367">
              <a:lnSpc>
                <a:spcPct val="90000"/>
              </a:lnSpc>
              <a:spcAft>
                <a:spcPts val="588"/>
              </a:spcAft>
              <a:buFont typeface="Arial" panose="020B0604020202020204" pitchFamily="34" charset="0"/>
              <a:buChar char="•"/>
            </a:pPr>
            <a:r>
              <a:rPr lang="en-US" sz="1961" dirty="0">
                <a:solidFill>
                  <a:srgbClr val="FFFFFF"/>
                </a:solidFill>
              </a:rPr>
              <a:t>8000 VM’s, 0.7 PB of usable workload storage</a:t>
            </a:r>
          </a:p>
          <a:p>
            <a:pPr marL="336145" indent="-336145" defTabSz="914367">
              <a:lnSpc>
                <a:spcPct val="90000"/>
              </a:lnSpc>
              <a:spcAft>
                <a:spcPts val="588"/>
              </a:spcAft>
              <a:buFont typeface="Arial" panose="020B0604020202020204" pitchFamily="34" charset="0"/>
              <a:buChar char="•"/>
            </a:pPr>
            <a:r>
              <a:rPr lang="en-US" sz="1961" dirty="0">
                <a:solidFill>
                  <a:srgbClr val="FFFFFF"/>
                </a:solidFill>
              </a:rPr>
              <a:t>First party validation for workloads</a:t>
            </a:r>
          </a:p>
        </p:txBody>
      </p:sp>
    </p:spTree>
    <p:extLst>
      <p:ext uri="{BB962C8B-B14F-4D97-AF65-F5344CB8AC3E}">
        <p14:creationId xmlns:p14="http://schemas.microsoft.com/office/powerpoint/2010/main" val="24601463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3253351" y="1138437"/>
            <a:ext cx="1721392" cy="5006243"/>
          </a:xfrm>
          <a:prstGeom prst="rect">
            <a:avLst/>
          </a:prstGeom>
        </p:spPr>
      </p:pic>
      <p:sp>
        <p:nvSpPr>
          <p:cNvPr id="22" name="Rectangle 21"/>
          <p:cNvSpPr/>
          <p:nvPr/>
        </p:nvSpPr>
        <p:spPr bwMode="auto">
          <a:xfrm>
            <a:off x="269242" y="1140736"/>
            <a:ext cx="2752891" cy="5006243"/>
          </a:xfrm>
          <a:prstGeom prst="rect">
            <a:avLst/>
          </a:prstGeom>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89642" rIns="89642" bIns="45720" numCol="1" rtlCol="0" anchor="t" anchorCtr="0" compatLnSpc="1">
            <a:prstTxWarp prst="textNoShape">
              <a:avLst/>
            </a:prstTxWarp>
          </a:bodyPr>
          <a:lstStyle/>
          <a:p>
            <a:pPr defTabSz="914102" fontAlgn="base">
              <a:spcBef>
                <a:spcPct val="0"/>
              </a:spcBef>
              <a:spcAft>
                <a:spcPct val="0"/>
              </a:spcAft>
            </a:pPr>
            <a:r>
              <a:rPr lang="en-US" sz="2745" dirty="0">
                <a:gradFill>
                  <a:gsLst>
                    <a:gs pos="0">
                      <a:srgbClr val="FFFFFF"/>
                    </a:gs>
                    <a:gs pos="100000">
                      <a:srgbClr val="FFFFFF"/>
                    </a:gs>
                  </a:gsLst>
                  <a:lin ang="5400000" scaled="0"/>
                </a:gradFill>
              </a:rPr>
              <a:t>One Rack</a:t>
            </a:r>
          </a:p>
          <a:p>
            <a:pPr defTabSz="914102" fontAlgn="base">
              <a:spcBef>
                <a:spcPct val="0"/>
              </a:spcBef>
              <a:spcAft>
                <a:spcPct val="0"/>
              </a:spcAft>
            </a:pPr>
            <a:endParaRPr lang="en-US" sz="1961" dirty="0">
              <a:gradFill>
                <a:gsLst>
                  <a:gs pos="0">
                    <a:srgbClr val="FFFFFF"/>
                  </a:gs>
                  <a:gs pos="100000">
                    <a:srgbClr val="FFFFFF"/>
                  </a:gs>
                </a:gsLst>
                <a:lin ang="5400000" scaled="0"/>
              </a:gradFill>
            </a:endParaRPr>
          </a:p>
          <a:p>
            <a:pPr defTabSz="914102" fontAlgn="base">
              <a:spcBef>
                <a:spcPct val="0"/>
              </a:spcBef>
              <a:spcAft>
                <a:spcPct val="0"/>
              </a:spcAft>
            </a:pPr>
            <a:r>
              <a:rPr lang="en-US" sz="1961" dirty="0">
                <a:gradFill>
                  <a:gsLst>
                    <a:gs pos="0">
                      <a:srgbClr val="FFFFFF"/>
                    </a:gs>
                    <a:gs pos="100000">
                      <a:srgbClr val="FFFFFF"/>
                    </a:gs>
                  </a:gsLst>
                  <a:lin ang="5400000" scaled="0"/>
                </a:gradFill>
              </a:rPr>
              <a:t>512 </a:t>
            </a:r>
            <a:r>
              <a:rPr lang="en-US" sz="1961" dirty="0">
                <a:gradFill>
                  <a:gsLst>
                    <a:gs pos="0">
                      <a:srgbClr val="FFFFFF"/>
                    </a:gs>
                    <a:gs pos="100000">
                      <a:srgbClr val="FFFFFF"/>
                    </a:gs>
                  </a:gsLst>
                  <a:lin ang="5400000" scaled="0"/>
                </a:gradFill>
              </a:rPr>
              <a:t>Cores</a:t>
            </a:r>
            <a:br>
              <a:rPr lang="en-US" sz="1961" dirty="0">
                <a:gradFill>
                  <a:gsLst>
                    <a:gs pos="0">
                      <a:srgbClr val="FFFFFF"/>
                    </a:gs>
                    <a:gs pos="100000">
                      <a:srgbClr val="FFFFFF"/>
                    </a:gs>
                  </a:gsLst>
                  <a:lin ang="5400000" scaled="0"/>
                </a:gradFill>
              </a:rPr>
            </a:br>
            <a:r>
              <a:rPr lang="en-US" sz="1961" dirty="0">
                <a:gradFill>
                  <a:gsLst>
                    <a:gs pos="0">
                      <a:srgbClr val="FFFFFF"/>
                    </a:gs>
                    <a:gs pos="100000">
                      <a:srgbClr val="FFFFFF"/>
                    </a:gs>
                  </a:gsLst>
                  <a:lin ang="5400000" scaled="0"/>
                </a:gradFill>
              </a:rPr>
              <a:t>4TB </a:t>
            </a:r>
            <a:r>
              <a:rPr lang="en-US" sz="1961" dirty="0">
                <a:gradFill>
                  <a:gsLst>
                    <a:gs pos="0">
                      <a:srgbClr val="FFFFFF"/>
                    </a:gs>
                    <a:gs pos="100000">
                      <a:srgbClr val="FFFFFF"/>
                    </a:gs>
                  </a:gsLst>
                  <a:lin ang="5400000" scaled="0"/>
                </a:gradFill>
              </a:rPr>
              <a:t>RAM</a:t>
            </a:r>
          </a:p>
          <a:p>
            <a:pPr defTabSz="914102" fontAlgn="base">
              <a:spcBef>
                <a:spcPct val="0"/>
              </a:spcBef>
              <a:spcAft>
                <a:spcPct val="0"/>
              </a:spcAft>
            </a:pPr>
            <a:r>
              <a:rPr lang="en-US" sz="1961" dirty="0">
                <a:gradFill>
                  <a:gsLst>
                    <a:gs pos="0">
                      <a:srgbClr val="FFFFFF"/>
                    </a:gs>
                    <a:gs pos="100000">
                      <a:srgbClr val="FFFFFF"/>
                    </a:gs>
                  </a:gsLst>
                  <a:lin ang="5400000" scaled="0"/>
                </a:gradFill>
              </a:rPr>
              <a:t>262 TB usable storage</a:t>
            </a:r>
          </a:p>
          <a:p>
            <a:pPr defTabSz="914102" fontAlgn="base">
              <a:spcBef>
                <a:spcPct val="0"/>
              </a:spcBef>
              <a:spcAft>
                <a:spcPct val="0"/>
              </a:spcAft>
            </a:pPr>
            <a:endParaRPr lang="en-US" sz="1961" dirty="0">
              <a:gradFill>
                <a:gsLst>
                  <a:gs pos="0">
                    <a:srgbClr val="FFFFFF"/>
                  </a:gs>
                  <a:gs pos="100000">
                    <a:srgbClr val="FFFFFF"/>
                  </a:gs>
                </a:gsLst>
                <a:lin ang="5400000" scaled="0"/>
              </a:gradFill>
            </a:endParaRPr>
          </a:p>
          <a:p>
            <a:pPr defTabSz="914102" fontAlgn="base">
              <a:spcBef>
                <a:spcPct val="0"/>
              </a:spcBef>
              <a:spcAft>
                <a:spcPct val="0"/>
              </a:spcAft>
            </a:pPr>
            <a:r>
              <a:rPr lang="en-US" sz="1961" dirty="0">
                <a:gradFill>
                  <a:gsLst>
                    <a:gs pos="0">
                      <a:srgbClr val="FFFFFF"/>
                    </a:gs>
                    <a:gs pos="100000">
                      <a:srgbClr val="FFFFFF"/>
                    </a:gs>
                  </a:gsLst>
                  <a:lin ang="5400000" scaled="0"/>
                </a:gradFill>
              </a:rPr>
              <a:t>160 Gb/s internal rack connectivity</a:t>
            </a:r>
          </a:p>
          <a:p>
            <a:pPr defTabSz="914102" fontAlgn="base">
              <a:spcBef>
                <a:spcPct val="0"/>
              </a:spcBef>
              <a:spcAft>
                <a:spcPct val="0"/>
              </a:spcAft>
            </a:pPr>
            <a:endParaRPr lang="en-US" sz="1961" dirty="0">
              <a:gradFill>
                <a:gsLst>
                  <a:gs pos="0">
                    <a:srgbClr val="FFFFFF"/>
                  </a:gs>
                  <a:gs pos="100000">
                    <a:srgbClr val="FFFFFF"/>
                  </a:gs>
                </a:gsLst>
                <a:lin ang="5400000" scaled="0"/>
              </a:gradFill>
            </a:endParaRPr>
          </a:p>
          <a:p>
            <a:pPr defTabSz="914102" fontAlgn="base">
              <a:spcBef>
                <a:spcPct val="0"/>
              </a:spcBef>
              <a:spcAft>
                <a:spcPct val="0"/>
              </a:spcAft>
            </a:pPr>
            <a:r>
              <a:rPr lang="en-US" sz="1961" dirty="0">
                <a:gradFill>
                  <a:gsLst>
                    <a:gs pos="0">
                      <a:srgbClr val="FFFFFF"/>
                    </a:gs>
                    <a:gs pos="100000">
                      <a:srgbClr val="FFFFFF"/>
                    </a:gs>
                  </a:gsLst>
                  <a:lin ang="5400000" scaled="0"/>
                </a:gradFill>
              </a:rPr>
              <a:t>2</a:t>
            </a:r>
            <a:r>
              <a:rPr lang="en-US" sz="1961" dirty="0">
                <a:gradFill>
                  <a:gsLst>
                    <a:gs pos="0">
                      <a:srgbClr val="FFFFFF"/>
                    </a:gs>
                    <a:gs pos="100000">
                      <a:srgbClr val="FFFFFF"/>
                    </a:gs>
                  </a:gsLst>
                  <a:lin ang="5400000" scaled="0"/>
                </a:gradFill>
              </a:rPr>
              <a:t>0 Gb/s external   </a:t>
            </a:r>
          </a:p>
          <a:p>
            <a:pPr defTabSz="914102" fontAlgn="base">
              <a:spcBef>
                <a:spcPct val="0"/>
              </a:spcBef>
              <a:spcAft>
                <a:spcPct val="0"/>
              </a:spcAft>
            </a:pPr>
            <a:endParaRPr lang="en-US" sz="1961" dirty="0">
              <a:gradFill>
                <a:gsLst>
                  <a:gs pos="0">
                    <a:srgbClr val="FFFFFF"/>
                  </a:gs>
                  <a:gs pos="100000">
                    <a:srgbClr val="FFFFFF"/>
                  </a:gs>
                </a:gsLst>
                <a:lin ang="5400000" scaled="0"/>
              </a:gradFill>
            </a:endParaRPr>
          </a:p>
          <a:p>
            <a:pPr defTabSz="914102" fontAlgn="base">
              <a:spcBef>
                <a:spcPct val="0"/>
              </a:spcBef>
              <a:spcAft>
                <a:spcPct val="0"/>
              </a:spcAft>
            </a:pPr>
            <a:r>
              <a:rPr lang="en-US" sz="1961" dirty="0">
                <a:gradFill>
                  <a:gsLst>
                    <a:gs pos="0">
                      <a:srgbClr val="FFFFFF"/>
                    </a:gs>
                    <a:gs pos="100000">
                      <a:srgbClr val="FFFFFF"/>
                    </a:gs>
                  </a:gsLst>
                  <a:lin ang="5400000" scaled="0"/>
                </a:gradFill>
              </a:rPr>
              <a:t>2322 </a:t>
            </a:r>
            <a:r>
              <a:rPr lang="en-US" sz="1961" dirty="0" err="1">
                <a:gradFill>
                  <a:gsLst>
                    <a:gs pos="0">
                      <a:srgbClr val="FFFFFF"/>
                    </a:gs>
                    <a:gs pos="100000">
                      <a:srgbClr val="FFFFFF"/>
                    </a:gs>
                  </a:gsLst>
                  <a:lin ang="5400000" scaled="0"/>
                </a:gradFill>
              </a:rPr>
              <a:t>Lbs</a:t>
            </a:r>
            <a:endParaRPr lang="en-US" sz="1961" dirty="0">
              <a:gradFill>
                <a:gsLst>
                  <a:gs pos="0">
                    <a:srgbClr val="FFFFFF"/>
                  </a:gs>
                  <a:gs pos="100000">
                    <a:srgbClr val="FFFFFF"/>
                  </a:gs>
                </a:gsLst>
                <a:lin ang="5400000" scaled="0"/>
              </a:gradFill>
            </a:endParaRPr>
          </a:p>
          <a:p>
            <a:pPr defTabSz="914102" fontAlgn="base">
              <a:spcBef>
                <a:spcPct val="0"/>
              </a:spcBef>
              <a:spcAft>
                <a:spcPct val="0"/>
              </a:spcAft>
            </a:pPr>
            <a:r>
              <a:rPr lang="en-US" sz="1961" dirty="0">
                <a:gradFill>
                  <a:gsLst>
                    <a:gs pos="0">
                      <a:srgbClr val="FFFFFF"/>
                    </a:gs>
                    <a:gs pos="100000">
                      <a:srgbClr val="FFFFFF"/>
                    </a:gs>
                  </a:gsLst>
                  <a:lin ang="5400000" scaled="0"/>
                </a:gradFill>
              </a:rPr>
              <a:t>42U</a:t>
            </a:r>
          </a:p>
          <a:p>
            <a:pPr defTabSz="914102" fontAlgn="base">
              <a:spcBef>
                <a:spcPct val="0"/>
              </a:spcBef>
              <a:spcAft>
                <a:spcPct val="0"/>
              </a:spcAft>
            </a:pPr>
            <a:r>
              <a:rPr lang="en-US" sz="1961" dirty="0">
                <a:gradFill>
                  <a:gsLst>
                    <a:gs pos="0">
                      <a:srgbClr val="FFFFFF"/>
                    </a:gs>
                    <a:gs pos="100000">
                      <a:srgbClr val="FFFFFF"/>
                    </a:gs>
                  </a:gsLst>
                  <a:lin ang="5400000" scaled="0"/>
                </a:gradFill>
              </a:rPr>
              <a:t>16.6 KW Maximum</a:t>
            </a:r>
          </a:p>
          <a:p>
            <a:pPr defTabSz="914102" fontAlgn="base">
              <a:spcBef>
                <a:spcPct val="0"/>
              </a:spcBef>
              <a:spcAft>
                <a:spcPct val="0"/>
              </a:spcAft>
            </a:pPr>
            <a:endParaRPr lang="en-US" sz="1765" dirty="0">
              <a:gradFill>
                <a:gsLst>
                  <a:gs pos="0">
                    <a:srgbClr val="FFFFFF"/>
                  </a:gs>
                  <a:gs pos="100000">
                    <a:srgbClr val="FFFFFF"/>
                  </a:gs>
                </a:gsLst>
                <a:lin ang="5400000" scaled="0"/>
              </a:gradFill>
            </a:endParaRPr>
          </a:p>
        </p:txBody>
      </p:sp>
      <p:sp>
        <p:nvSpPr>
          <p:cNvPr id="25" name="Text Placeholder 1"/>
          <p:cNvSpPr>
            <a:spLocks noGrp="1"/>
          </p:cNvSpPr>
          <p:nvPr>
            <p:ph type="body" sz="quarter" idx="10"/>
          </p:nvPr>
        </p:nvSpPr>
        <p:spPr>
          <a:xfrm>
            <a:off x="5199576" y="1138436"/>
            <a:ext cx="6500673" cy="6130461"/>
          </a:xfrm>
          <a:solidFill>
            <a:schemeClr val="bg1">
              <a:lumMod val="50000"/>
            </a:schemeClr>
          </a:solidFill>
        </p:spPr>
        <p:txBody>
          <a:bodyPr/>
          <a:lstStyle/>
          <a:p>
            <a:r>
              <a:rPr lang="en-US" sz="2353" dirty="0">
                <a:solidFill>
                  <a:schemeClr val="bg1"/>
                </a:solidFill>
                <a:latin typeface="+mn-lt"/>
              </a:rPr>
              <a:t>Networking</a:t>
            </a:r>
          </a:p>
          <a:p>
            <a:pPr lvl="1"/>
            <a:r>
              <a:rPr lang="en-US" sz="1568" dirty="0">
                <a:solidFill>
                  <a:schemeClr val="bg1"/>
                </a:solidFill>
              </a:rPr>
              <a:t>4 x Force </a:t>
            </a:r>
            <a:r>
              <a:rPr lang="en-US" sz="1568" dirty="0">
                <a:solidFill>
                  <a:schemeClr val="bg1"/>
                </a:solidFill>
              </a:rPr>
              <a:t>10 – </a:t>
            </a:r>
            <a:r>
              <a:rPr lang="en-US" sz="1568" dirty="0">
                <a:solidFill>
                  <a:schemeClr val="bg1"/>
                </a:solidFill>
              </a:rPr>
              <a:t>S4810P</a:t>
            </a:r>
          </a:p>
          <a:p>
            <a:pPr lvl="1"/>
            <a:r>
              <a:rPr lang="en-US" sz="1568" dirty="0">
                <a:solidFill>
                  <a:schemeClr val="bg1"/>
                </a:solidFill>
              </a:rPr>
              <a:t>1 x Force 10 – S55</a:t>
            </a:r>
          </a:p>
          <a:p>
            <a:endParaRPr lang="en-US" sz="1078" dirty="0">
              <a:solidFill>
                <a:schemeClr val="bg1"/>
              </a:solidFill>
              <a:latin typeface="+mn-lt"/>
            </a:endParaRPr>
          </a:p>
          <a:p>
            <a:r>
              <a:rPr lang="en-US" sz="2353" dirty="0">
                <a:solidFill>
                  <a:schemeClr val="bg1"/>
                </a:solidFill>
                <a:latin typeface="+mn-lt"/>
              </a:rPr>
              <a:t>Compute </a:t>
            </a:r>
            <a:r>
              <a:rPr lang="en-US" sz="2353" dirty="0">
                <a:solidFill>
                  <a:schemeClr val="bg1"/>
                </a:solidFill>
                <a:latin typeface="+mn-lt"/>
              </a:rPr>
              <a:t>Scale </a:t>
            </a:r>
            <a:r>
              <a:rPr lang="en-US" sz="2353" dirty="0">
                <a:solidFill>
                  <a:schemeClr val="bg1"/>
                </a:solidFill>
                <a:latin typeface="+mn-lt"/>
              </a:rPr>
              <a:t>Unit (32 x Hyper-V hosts)</a:t>
            </a:r>
            <a:endParaRPr lang="en-US" sz="2353" dirty="0">
              <a:solidFill>
                <a:schemeClr val="bg1"/>
              </a:solidFill>
              <a:latin typeface="+mn-lt"/>
            </a:endParaRPr>
          </a:p>
          <a:p>
            <a:pPr lvl="1"/>
            <a:r>
              <a:rPr lang="en-US" sz="1568" dirty="0">
                <a:solidFill>
                  <a:schemeClr val="bg1"/>
                </a:solidFill>
              </a:rPr>
              <a:t>Dell PowerEdge C6220ii </a:t>
            </a:r>
            <a:r>
              <a:rPr lang="en-US" sz="1568" dirty="0">
                <a:solidFill>
                  <a:schemeClr val="bg1"/>
                </a:solidFill>
              </a:rPr>
              <a:t>– 4 </a:t>
            </a:r>
            <a:r>
              <a:rPr lang="en-US" sz="1568" dirty="0">
                <a:solidFill>
                  <a:schemeClr val="bg1"/>
                </a:solidFill>
              </a:rPr>
              <a:t>Nodes per 2U</a:t>
            </a:r>
          </a:p>
          <a:p>
            <a:pPr lvl="2"/>
            <a:r>
              <a:rPr lang="en-US" sz="1568" dirty="0">
                <a:solidFill>
                  <a:schemeClr val="bg1"/>
                </a:solidFill>
              </a:rPr>
              <a:t>Dual socket </a:t>
            </a:r>
            <a:r>
              <a:rPr lang="en-US" sz="1568" dirty="0">
                <a:solidFill>
                  <a:schemeClr val="bg1"/>
                </a:solidFill>
              </a:rPr>
              <a:t>Intel </a:t>
            </a:r>
            <a:r>
              <a:rPr lang="en-US" sz="1568" dirty="0" err="1">
                <a:solidFill>
                  <a:schemeClr val="bg1"/>
                </a:solidFill>
              </a:rPr>
              <a:t>IvyBridge</a:t>
            </a:r>
            <a:r>
              <a:rPr lang="en-US" sz="1568" dirty="0">
                <a:solidFill>
                  <a:schemeClr val="bg1"/>
                </a:solidFill>
              </a:rPr>
              <a:t> </a:t>
            </a:r>
            <a:r>
              <a:rPr lang="en-US" sz="1568" dirty="0">
                <a:solidFill>
                  <a:schemeClr val="bg1"/>
                </a:solidFill>
              </a:rPr>
              <a:t>(E5-2650v2 @ 2.6GHz)</a:t>
            </a:r>
          </a:p>
          <a:p>
            <a:pPr lvl="2"/>
            <a:r>
              <a:rPr lang="en-US" sz="1568" dirty="0">
                <a:solidFill>
                  <a:schemeClr val="bg1"/>
                </a:solidFill>
              </a:rPr>
              <a:t>128 GB </a:t>
            </a:r>
            <a:r>
              <a:rPr lang="en-US" sz="1568" dirty="0">
                <a:solidFill>
                  <a:schemeClr val="bg1"/>
                </a:solidFill>
              </a:rPr>
              <a:t>memory</a:t>
            </a:r>
          </a:p>
          <a:p>
            <a:pPr lvl="2"/>
            <a:r>
              <a:rPr lang="en-US" sz="1568" dirty="0">
                <a:solidFill>
                  <a:schemeClr val="bg1"/>
                </a:solidFill>
              </a:rPr>
              <a:t>2</a:t>
            </a:r>
            <a:r>
              <a:rPr lang="en-US" sz="1568" dirty="0">
                <a:solidFill>
                  <a:schemeClr val="bg1"/>
                </a:solidFill>
              </a:rPr>
              <a:t> x 10 </a:t>
            </a:r>
            <a:r>
              <a:rPr lang="en-US" sz="1568" dirty="0" err="1">
                <a:solidFill>
                  <a:schemeClr val="bg1"/>
                </a:solidFill>
              </a:rPr>
              <a:t>GbE</a:t>
            </a:r>
            <a:r>
              <a:rPr lang="en-US" sz="1568" dirty="0">
                <a:solidFill>
                  <a:schemeClr val="bg1"/>
                </a:solidFill>
              </a:rPr>
              <a:t> </a:t>
            </a:r>
            <a:r>
              <a:rPr lang="en-US" sz="1568" dirty="0" err="1">
                <a:solidFill>
                  <a:schemeClr val="bg1"/>
                </a:solidFill>
              </a:rPr>
              <a:t>Mellanox</a:t>
            </a:r>
            <a:r>
              <a:rPr lang="en-US" sz="1568" dirty="0">
                <a:solidFill>
                  <a:schemeClr val="bg1"/>
                </a:solidFill>
              </a:rPr>
              <a:t> </a:t>
            </a:r>
            <a:r>
              <a:rPr lang="en-US" sz="1568" dirty="0">
                <a:solidFill>
                  <a:schemeClr val="bg1"/>
                </a:solidFill>
              </a:rPr>
              <a:t>NIC’s (LBFO Team, NVGRE offload)</a:t>
            </a:r>
            <a:endParaRPr lang="en-US" sz="1568" dirty="0">
              <a:solidFill>
                <a:schemeClr val="bg1"/>
              </a:solidFill>
            </a:endParaRPr>
          </a:p>
          <a:p>
            <a:pPr lvl="2"/>
            <a:r>
              <a:rPr lang="en-US" sz="1568" dirty="0">
                <a:solidFill>
                  <a:schemeClr val="bg1"/>
                </a:solidFill>
              </a:rPr>
              <a:t>2 x 10 </a:t>
            </a:r>
            <a:r>
              <a:rPr lang="en-US" sz="1568" dirty="0" err="1">
                <a:solidFill>
                  <a:schemeClr val="bg1"/>
                </a:solidFill>
              </a:rPr>
              <a:t>GbE</a:t>
            </a:r>
            <a:r>
              <a:rPr lang="en-US" sz="1568" dirty="0">
                <a:solidFill>
                  <a:schemeClr val="bg1"/>
                </a:solidFill>
              </a:rPr>
              <a:t> </a:t>
            </a:r>
            <a:r>
              <a:rPr lang="en-US" sz="1568" dirty="0" err="1">
                <a:solidFill>
                  <a:schemeClr val="bg1"/>
                </a:solidFill>
              </a:rPr>
              <a:t>Chelsio</a:t>
            </a:r>
            <a:r>
              <a:rPr lang="en-US" sz="1568" dirty="0">
                <a:solidFill>
                  <a:schemeClr val="bg1"/>
                </a:solidFill>
              </a:rPr>
              <a:t> (</a:t>
            </a:r>
            <a:r>
              <a:rPr lang="en-US" sz="1568" dirty="0" err="1">
                <a:solidFill>
                  <a:schemeClr val="bg1"/>
                </a:solidFill>
              </a:rPr>
              <a:t>iWARP</a:t>
            </a:r>
            <a:r>
              <a:rPr lang="en-US" sz="1568" dirty="0">
                <a:solidFill>
                  <a:schemeClr val="bg1"/>
                </a:solidFill>
              </a:rPr>
              <a:t>/RDMA) </a:t>
            </a:r>
          </a:p>
          <a:p>
            <a:pPr lvl="2"/>
            <a:r>
              <a:rPr lang="en-US" sz="1568" dirty="0">
                <a:solidFill>
                  <a:schemeClr val="bg1"/>
                </a:solidFill>
              </a:rPr>
              <a:t>1 </a:t>
            </a:r>
            <a:r>
              <a:rPr lang="en-US" sz="1568" dirty="0">
                <a:solidFill>
                  <a:schemeClr val="bg1"/>
                </a:solidFill>
              </a:rPr>
              <a:t>local SSD </a:t>
            </a:r>
            <a:r>
              <a:rPr lang="en-US" sz="1568" dirty="0">
                <a:solidFill>
                  <a:schemeClr val="bg1"/>
                </a:solidFill>
              </a:rPr>
              <a:t> 200 GB(boot/paging</a:t>
            </a:r>
            <a:r>
              <a:rPr lang="en-US" sz="1568" dirty="0">
                <a:solidFill>
                  <a:schemeClr val="bg1"/>
                </a:solidFill>
              </a:rPr>
              <a:t>)</a:t>
            </a:r>
          </a:p>
          <a:p>
            <a:pPr lvl="2"/>
            <a:endParaRPr lang="en-US" sz="882" dirty="0">
              <a:solidFill>
                <a:schemeClr val="bg1"/>
              </a:solidFill>
            </a:endParaRPr>
          </a:p>
          <a:p>
            <a:r>
              <a:rPr lang="en-US" sz="2353" dirty="0">
                <a:solidFill>
                  <a:schemeClr val="bg1"/>
                </a:solidFill>
                <a:latin typeface="+mn-lt"/>
              </a:rPr>
              <a:t>Storage Scale </a:t>
            </a:r>
            <a:r>
              <a:rPr lang="en-US" sz="2353" dirty="0">
                <a:solidFill>
                  <a:schemeClr val="bg1"/>
                </a:solidFill>
                <a:latin typeface="+mn-lt"/>
              </a:rPr>
              <a:t>Unit (4 x File servers, 4  x JBODS)</a:t>
            </a:r>
            <a:endParaRPr lang="en-US" sz="2353" dirty="0">
              <a:solidFill>
                <a:schemeClr val="bg1"/>
              </a:solidFill>
              <a:latin typeface="+mn-lt"/>
            </a:endParaRPr>
          </a:p>
          <a:p>
            <a:pPr lvl="1"/>
            <a:r>
              <a:rPr lang="en-US" sz="1568" dirty="0">
                <a:solidFill>
                  <a:schemeClr val="bg1"/>
                </a:solidFill>
              </a:rPr>
              <a:t>Dell PowerEdge </a:t>
            </a:r>
            <a:r>
              <a:rPr lang="en-US" sz="1568" dirty="0">
                <a:solidFill>
                  <a:schemeClr val="bg1"/>
                </a:solidFill>
              </a:rPr>
              <a:t>R620v2 </a:t>
            </a:r>
            <a:r>
              <a:rPr lang="en-US" sz="1568" dirty="0">
                <a:solidFill>
                  <a:schemeClr val="bg1"/>
                </a:solidFill>
              </a:rPr>
              <a:t>Servers (4 Server for Scale Out File Server</a:t>
            </a:r>
          </a:p>
          <a:p>
            <a:pPr lvl="2"/>
            <a:r>
              <a:rPr lang="en-US" sz="1568" dirty="0">
                <a:solidFill>
                  <a:schemeClr val="bg1"/>
                </a:solidFill>
              </a:rPr>
              <a:t>Dual socket Intel </a:t>
            </a:r>
            <a:r>
              <a:rPr lang="en-US" sz="1568" dirty="0" err="1">
                <a:solidFill>
                  <a:schemeClr val="bg1"/>
                </a:solidFill>
              </a:rPr>
              <a:t>IvyBridge</a:t>
            </a:r>
            <a:r>
              <a:rPr lang="en-US" sz="1568" dirty="0">
                <a:solidFill>
                  <a:schemeClr val="bg1"/>
                </a:solidFill>
              </a:rPr>
              <a:t> (E5-2650v2 @ 2.6GHz)</a:t>
            </a:r>
          </a:p>
          <a:p>
            <a:pPr lvl="2"/>
            <a:r>
              <a:rPr lang="en-US" sz="1568" dirty="0">
                <a:solidFill>
                  <a:schemeClr val="bg1"/>
                </a:solidFill>
              </a:rPr>
              <a:t>2 x LSI 9207-8E SAS Controllers (shared storage</a:t>
            </a:r>
            <a:r>
              <a:rPr lang="en-US" sz="1568" dirty="0">
                <a:solidFill>
                  <a:schemeClr val="bg1"/>
                </a:solidFill>
              </a:rPr>
              <a:t>)</a:t>
            </a:r>
          </a:p>
          <a:p>
            <a:pPr lvl="2"/>
            <a:r>
              <a:rPr lang="en-US" sz="1568" dirty="0">
                <a:solidFill>
                  <a:schemeClr val="bg1"/>
                </a:solidFill>
              </a:rPr>
              <a:t>2 x 10 </a:t>
            </a:r>
            <a:r>
              <a:rPr lang="en-US" sz="1568" dirty="0" err="1">
                <a:solidFill>
                  <a:schemeClr val="bg1"/>
                </a:solidFill>
              </a:rPr>
              <a:t>GbE</a:t>
            </a:r>
            <a:r>
              <a:rPr lang="en-US" sz="1568" dirty="0">
                <a:solidFill>
                  <a:schemeClr val="bg1"/>
                </a:solidFill>
              </a:rPr>
              <a:t> </a:t>
            </a:r>
            <a:r>
              <a:rPr lang="en-US" sz="1568" dirty="0" err="1">
                <a:solidFill>
                  <a:schemeClr val="bg1"/>
                </a:solidFill>
              </a:rPr>
              <a:t>Chelsio</a:t>
            </a:r>
            <a:r>
              <a:rPr lang="en-US" sz="1568" dirty="0">
                <a:solidFill>
                  <a:schemeClr val="bg1"/>
                </a:solidFill>
              </a:rPr>
              <a:t> (</a:t>
            </a:r>
            <a:r>
              <a:rPr lang="en-US" sz="1568" dirty="0" err="1">
                <a:solidFill>
                  <a:schemeClr val="bg1"/>
                </a:solidFill>
              </a:rPr>
              <a:t>iWARP</a:t>
            </a:r>
            <a:r>
              <a:rPr lang="en-US" sz="1568" dirty="0">
                <a:solidFill>
                  <a:schemeClr val="bg1"/>
                </a:solidFill>
              </a:rPr>
              <a:t>/RDMA) </a:t>
            </a:r>
            <a:endParaRPr lang="en-US" sz="1568" dirty="0">
              <a:solidFill>
                <a:schemeClr val="bg1"/>
              </a:solidFill>
            </a:endParaRPr>
          </a:p>
          <a:p>
            <a:pPr lvl="1"/>
            <a:r>
              <a:rPr lang="en-US" sz="1568" dirty="0" err="1">
                <a:solidFill>
                  <a:schemeClr val="bg1"/>
                </a:solidFill>
              </a:rPr>
              <a:t>PowerVault</a:t>
            </a:r>
            <a:r>
              <a:rPr lang="en-US" sz="1568" dirty="0">
                <a:solidFill>
                  <a:schemeClr val="bg1"/>
                </a:solidFill>
              </a:rPr>
              <a:t> </a:t>
            </a:r>
            <a:r>
              <a:rPr lang="en-US" sz="1568" dirty="0">
                <a:solidFill>
                  <a:schemeClr val="bg1"/>
                </a:solidFill>
              </a:rPr>
              <a:t>MD3060e </a:t>
            </a:r>
            <a:r>
              <a:rPr lang="en-US" sz="1568" dirty="0">
                <a:solidFill>
                  <a:schemeClr val="bg1"/>
                </a:solidFill>
              </a:rPr>
              <a:t>JBODs (48 HDD, 12 SSD)</a:t>
            </a:r>
            <a:endParaRPr lang="en-US" sz="1568" dirty="0">
              <a:solidFill>
                <a:schemeClr val="bg1"/>
              </a:solidFill>
            </a:endParaRPr>
          </a:p>
          <a:p>
            <a:pPr lvl="1"/>
            <a:r>
              <a:rPr lang="en-US" sz="1568" dirty="0">
                <a:solidFill>
                  <a:schemeClr val="bg1"/>
                </a:solidFill>
              </a:rPr>
              <a:t>4 TB HDDs and 800 GB </a:t>
            </a:r>
            <a:r>
              <a:rPr lang="en-US" sz="1568" dirty="0">
                <a:solidFill>
                  <a:schemeClr val="bg1"/>
                </a:solidFill>
              </a:rPr>
              <a:t>SSDs</a:t>
            </a:r>
          </a:p>
          <a:p>
            <a:pPr marL="336145" lvl="1" indent="0">
              <a:buNone/>
            </a:pPr>
            <a:endParaRPr lang="en-US" sz="1372" dirty="0">
              <a:solidFill>
                <a:schemeClr val="tx1">
                  <a:lumMod val="95000"/>
                </a:schemeClr>
              </a:solidFill>
              <a:latin typeface="+mj-lt"/>
            </a:endParaRPr>
          </a:p>
        </p:txBody>
      </p:sp>
      <p:sp>
        <p:nvSpPr>
          <p:cNvPr id="26" name="TextBox 25"/>
          <p:cNvSpPr txBox="1"/>
          <p:nvPr/>
        </p:nvSpPr>
        <p:spPr>
          <a:xfrm>
            <a:off x="2513548" y="6241471"/>
            <a:ext cx="1942254" cy="615522"/>
          </a:xfrm>
          <a:prstGeom prst="rect">
            <a:avLst/>
          </a:prstGeom>
          <a:noFill/>
        </p:spPr>
        <p:txBody>
          <a:bodyPr wrap="square" lIns="179285" tIns="143428" rIns="179285" bIns="143428" rtlCol="0">
            <a:spAutoFit/>
          </a:bodyPr>
          <a:lstStyle/>
          <a:p>
            <a:pPr defTabSz="914367">
              <a:lnSpc>
                <a:spcPct val="90000"/>
              </a:lnSpc>
              <a:spcAft>
                <a:spcPts val="588"/>
              </a:spcAft>
            </a:pPr>
            <a:r>
              <a:rPr lang="en-US" sz="2353" dirty="0">
                <a:gradFill>
                  <a:gsLst>
                    <a:gs pos="2917">
                      <a:srgbClr val="000000"/>
                    </a:gs>
                    <a:gs pos="30000">
                      <a:srgbClr val="000000"/>
                    </a:gs>
                  </a:gsLst>
                  <a:lin ang="5400000" scaled="0"/>
                </a:gradFill>
                <a:latin typeface="Segoe UI Light"/>
              </a:rPr>
              <a:t>1 – 4 racks</a:t>
            </a:r>
          </a:p>
        </p:txBody>
      </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5485" y="2027469"/>
            <a:ext cx="1374691" cy="1374691"/>
          </a:xfrm>
          <a:prstGeom prst="rect">
            <a:avLst/>
          </a:prstGeom>
        </p:spPr>
      </p:pic>
      <p:sp>
        <p:nvSpPr>
          <p:cNvPr id="8" name="Rectangle 7"/>
          <p:cNvSpPr/>
          <p:nvPr/>
        </p:nvSpPr>
        <p:spPr bwMode="auto">
          <a:xfrm>
            <a:off x="261179" y="355943"/>
            <a:ext cx="6948454" cy="68570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68889" tIns="143407" rIns="179259" bIns="143407" numCol="1" rtlCol="0" anchor="t" anchorCtr="0" compatLnSpc="1">
            <a:prstTxWarp prst="textNoShape">
              <a:avLst/>
            </a:prstTxWarp>
            <a:noAutofit/>
          </a:bodyPr>
          <a:lstStyle/>
          <a:p>
            <a:pPr defTabSz="913927" fontAlgn="base">
              <a:lnSpc>
                <a:spcPct val="90000"/>
              </a:lnSpc>
            </a:pPr>
            <a:r>
              <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rPr>
              <a:t>CPS - Hardware</a:t>
            </a:r>
            <a:endParaRPr lang="en-US" sz="2745" spc="-39" dirty="0">
              <a:gradFill>
                <a:gsLst>
                  <a:gs pos="3540">
                    <a:srgbClr val="FFFFFF"/>
                  </a:gs>
                  <a:gs pos="16814">
                    <a:srgbClr val="FFFFFF"/>
                  </a:gs>
                </a:gsLst>
                <a:lin ang="5400000" scaled="0"/>
              </a:gra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648096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5">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5">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5">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5">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5">
                                            <p:txEl>
                                              <p:pRg st="16" end="16"/>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5">
                                            <p:txEl>
                                              <p:pRg st="17" end="1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5">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lumMod val="95000"/>
                  </a:schemeClr>
                </a:solidFill>
              </a:rPr>
              <a:t>High-density, industry-standard hardware</a:t>
            </a:r>
          </a:p>
        </p:txBody>
      </p:sp>
      <p:graphicFrame>
        <p:nvGraphicFramePr>
          <p:cNvPr id="3" name="Table 2"/>
          <p:cNvGraphicFramePr>
            <a:graphicFrameLocks noGrp="1"/>
          </p:cNvGraphicFramePr>
          <p:nvPr>
            <p:extLst/>
          </p:nvPr>
        </p:nvGraphicFramePr>
        <p:xfrm>
          <a:off x="747366" y="1487253"/>
          <a:ext cx="10434579" cy="4644263"/>
        </p:xfrm>
        <a:graphic>
          <a:graphicData uri="http://schemas.openxmlformats.org/drawingml/2006/table">
            <a:tbl>
              <a:tblPr firstRow="1" bandRow="1">
                <a:tableStyleId>{5C22544A-7EE6-4342-B048-85BDC9FD1C3A}</a:tableStyleId>
              </a:tblPr>
              <a:tblGrid>
                <a:gridCol w="3939247">
                  <a:extLst>
                    <a:ext uri="{9D8B030D-6E8A-4147-A177-3AD203B41FA5}">
                      <a16:colId xmlns="" xmlns:a16="http://schemas.microsoft.com/office/drawing/2014/main" val="3669740550"/>
                    </a:ext>
                  </a:extLst>
                </a:gridCol>
                <a:gridCol w="2131796">
                  <a:extLst>
                    <a:ext uri="{9D8B030D-6E8A-4147-A177-3AD203B41FA5}">
                      <a16:colId xmlns="" xmlns:a16="http://schemas.microsoft.com/office/drawing/2014/main" val="1897728227"/>
                    </a:ext>
                  </a:extLst>
                </a:gridCol>
                <a:gridCol w="2131796">
                  <a:extLst>
                    <a:ext uri="{9D8B030D-6E8A-4147-A177-3AD203B41FA5}">
                      <a16:colId xmlns="" xmlns:a16="http://schemas.microsoft.com/office/drawing/2014/main" val="2757113249"/>
                    </a:ext>
                  </a:extLst>
                </a:gridCol>
                <a:gridCol w="2231740">
                  <a:extLst>
                    <a:ext uri="{9D8B030D-6E8A-4147-A177-3AD203B41FA5}">
                      <a16:colId xmlns="" xmlns:a16="http://schemas.microsoft.com/office/drawing/2014/main" val="3295661540"/>
                    </a:ext>
                  </a:extLst>
                </a:gridCol>
              </a:tblGrid>
              <a:tr h="412537">
                <a:tc>
                  <a:txBody>
                    <a:bodyPr/>
                    <a:lstStyle/>
                    <a:p>
                      <a:endParaRPr lang="en-US" sz="2400" b="1" dirty="0">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r>
                        <a:rPr lang="en-US" sz="2400" b="1" dirty="0" smtClean="0">
                          <a:latin typeface="+mj-lt"/>
                        </a:rPr>
                        <a:t>Rack 1</a:t>
                      </a:r>
                      <a:endParaRPr lang="en-US" sz="2400" b="1" dirty="0">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r>
                        <a:rPr lang="en-US" sz="2400" b="1" dirty="0" smtClean="0">
                          <a:latin typeface="+mj-lt"/>
                        </a:rPr>
                        <a:t>Per Rack</a:t>
                      </a:r>
                      <a:endParaRPr lang="en-US" sz="2400" b="1" dirty="0">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tcPr>
                </a:tc>
                <a:tc>
                  <a:txBody>
                    <a:bodyPr/>
                    <a:lstStyle/>
                    <a:p>
                      <a:r>
                        <a:rPr lang="en-US" sz="2400" b="1" dirty="0" smtClean="0">
                          <a:latin typeface="+mj-lt"/>
                        </a:rPr>
                        <a:t>Max</a:t>
                      </a:r>
                      <a:r>
                        <a:rPr lang="en-US" sz="2400" b="1" baseline="0" dirty="0" smtClean="0">
                          <a:latin typeface="+mj-lt"/>
                        </a:rPr>
                        <a:t> per Stamp</a:t>
                      </a:r>
                      <a:endParaRPr lang="en-US" sz="2400" b="1" dirty="0">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 xmlns:a16="http://schemas.microsoft.com/office/drawing/2014/main" val="2776604025"/>
                  </a:ext>
                </a:extLst>
              </a:tr>
              <a:tr h="349618">
                <a:tc>
                  <a:txBody>
                    <a:bodyPr/>
                    <a:lstStyle/>
                    <a:p>
                      <a:r>
                        <a:rPr lang="en-US" sz="2000" b="0" dirty="0" smtClean="0">
                          <a:solidFill>
                            <a:schemeClr val="tx1">
                              <a:lumMod val="75000"/>
                              <a:lumOff val="25000"/>
                            </a:schemeClr>
                          </a:solidFill>
                          <a:latin typeface="+mj-lt"/>
                        </a:rPr>
                        <a:t>Compute Nodes</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24</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32</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12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238276783"/>
                  </a:ext>
                </a:extLst>
              </a:tr>
              <a:tr h="374637">
                <a:tc>
                  <a:txBody>
                    <a:bodyPr/>
                    <a:lstStyle/>
                    <a:p>
                      <a:r>
                        <a:rPr lang="en-US" sz="2000" b="0" dirty="0" smtClean="0">
                          <a:solidFill>
                            <a:schemeClr val="tx1">
                              <a:lumMod val="75000"/>
                              <a:lumOff val="25000"/>
                            </a:schemeClr>
                          </a:solidFill>
                          <a:latin typeface="+mj-lt"/>
                        </a:rPr>
                        <a:t>Sockets</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4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64</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256</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296971433"/>
                  </a:ext>
                </a:extLst>
              </a:tr>
              <a:tr h="367291">
                <a:tc>
                  <a:txBody>
                    <a:bodyPr/>
                    <a:lstStyle/>
                    <a:p>
                      <a:r>
                        <a:rPr lang="en-US" sz="2000" b="0" dirty="0" smtClean="0">
                          <a:solidFill>
                            <a:schemeClr val="tx1">
                              <a:lumMod val="75000"/>
                              <a:lumOff val="25000"/>
                            </a:schemeClr>
                          </a:solidFill>
                          <a:latin typeface="+mj-lt"/>
                        </a:rPr>
                        <a:t>Cores</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384</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512</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204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4093461918"/>
                  </a:ext>
                </a:extLst>
              </a:tr>
              <a:tr h="396675">
                <a:tc>
                  <a:txBody>
                    <a:bodyPr/>
                    <a:lstStyle/>
                    <a:p>
                      <a:r>
                        <a:rPr lang="en-US" sz="2000" b="0" dirty="0" smtClean="0">
                          <a:solidFill>
                            <a:schemeClr val="tx1">
                              <a:lumMod val="75000"/>
                              <a:lumOff val="25000"/>
                            </a:schemeClr>
                          </a:solidFill>
                          <a:latin typeface="+mj-lt"/>
                        </a:rPr>
                        <a:t>Memory</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3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4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717543490"/>
                  </a:ext>
                </a:extLst>
              </a:tr>
              <a:tr h="367291">
                <a:tc>
                  <a:txBody>
                    <a:bodyPr/>
                    <a:lstStyle/>
                    <a:p>
                      <a:r>
                        <a:rPr lang="en-US" sz="2000" b="0" dirty="0" smtClean="0">
                          <a:solidFill>
                            <a:schemeClr val="tx1">
                              <a:lumMod val="75000"/>
                              <a:lumOff val="25000"/>
                            </a:schemeClr>
                          </a:solidFill>
                          <a:latin typeface="+mj-lt"/>
                        </a:rPr>
                        <a:t>File Servers</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4</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4</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16</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2038830897"/>
                  </a:ext>
                </a:extLst>
              </a:tr>
              <a:tr h="374637">
                <a:tc>
                  <a:txBody>
                    <a:bodyPr/>
                    <a:lstStyle/>
                    <a:p>
                      <a:r>
                        <a:rPr lang="en-US" sz="2000" b="0" dirty="0" smtClean="0">
                          <a:solidFill>
                            <a:schemeClr val="tx1">
                              <a:lumMod val="75000"/>
                              <a:lumOff val="25000"/>
                            </a:schemeClr>
                          </a:solidFill>
                          <a:latin typeface="+mj-lt"/>
                        </a:rPr>
                        <a:t>HDD</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92</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92</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76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736221464"/>
                  </a:ext>
                </a:extLst>
              </a:tr>
              <a:tr h="396674">
                <a:tc>
                  <a:txBody>
                    <a:bodyPr/>
                    <a:lstStyle/>
                    <a:p>
                      <a:r>
                        <a:rPr lang="en-US" sz="2000" b="0" dirty="0" smtClean="0">
                          <a:solidFill>
                            <a:schemeClr val="tx1">
                              <a:lumMod val="75000"/>
                              <a:lumOff val="25000"/>
                            </a:schemeClr>
                          </a:solidFill>
                          <a:latin typeface="+mj-lt"/>
                        </a:rPr>
                        <a:t>HDD</a:t>
                      </a:r>
                      <a:r>
                        <a:rPr lang="en-US" sz="2000" b="0" baseline="0" dirty="0" smtClean="0">
                          <a:solidFill>
                            <a:schemeClr val="tx1">
                              <a:lumMod val="75000"/>
                              <a:lumOff val="25000"/>
                            </a:schemeClr>
                          </a:solidFill>
                          <a:latin typeface="+mj-lt"/>
                        </a:rPr>
                        <a:t> </a:t>
                      </a:r>
                      <a:r>
                        <a:rPr lang="en-US" sz="2000" b="0" dirty="0" smtClean="0">
                          <a:solidFill>
                            <a:schemeClr val="tx1">
                              <a:lumMod val="75000"/>
                              <a:lumOff val="25000"/>
                            </a:schemeClr>
                          </a:solidFill>
                          <a:latin typeface="+mj-lt"/>
                        </a:rPr>
                        <a:t>Raw Storage</a:t>
                      </a:r>
                      <a:r>
                        <a:rPr lang="en-US" sz="2000" b="0" baseline="0" dirty="0" smtClean="0">
                          <a:solidFill>
                            <a:schemeClr val="tx1">
                              <a:lumMod val="75000"/>
                              <a:lumOff val="25000"/>
                            </a:schemeClr>
                          </a:solidFill>
                          <a:latin typeface="+mj-lt"/>
                        </a:rPr>
                        <a:t> Capacity</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768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768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3072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4235432529"/>
                  </a:ext>
                </a:extLst>
              </a:tr>
              <a:tr h="367292">
                <a:tc>
                  <a:txBody>
                    <a:bodyPr/>
                    <a:lstStyle/>
                    <a:p>
                      <a:r>
                        <a:rPr lang="en-US" sz="2000" b="0" dirty="0" smtClean="0">
                          <a:solidFill>
                            <a:schemeClr val="tx1">
                              <a:lumMod val="75000"/>
                              <a:lumOff val="25000"/>
                            </a:schemeClr>
                          </a:solidFill>
                          <a:latin typeface="+mj-lt"/>
                        </a:rPr>
                        <a:t>SSD (for </a:t>
                      </a:r>
                      <a:r>
                        <a:rPr lang="en-US" sz="2000" b="0" dirty="0" err="1" smtClean="0">
                          <a:solidFill>
                            <a:schemeClr val="tx1">
                              <a:lumMod val="75000"/>
                              <a:lumOff val="25000"/>
                            </a:schemeClr>
                          </a:solidFill>
                          <a:latin typeface="+mj-lt"/>
                        </a:rPr>
                        <a:t>Tiering</a:t>
                      </a:r>
                      <a:r>
                        <a:rPr lang="en-US" sz="2000" b="0" dirty="0" smtClean="0">
                          <a:solidFill>
                            <a:schemeClr val="tx1">
                              <a:lumMod val="75000"/>
                              <a:lumOff val="25000"/>
                            </a:schemeClr>
                          </a:solidFill>
                          <a:latin typeface="+mj-lt"/>
                        </a:rPr>
                        <a:t>)</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4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48</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92</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805123585"/>
                  </a:ext>
                </a:extLst>
              </a:tr>
              <a:tr h="412537">
                <a:tc>
                  <a:txBody>
                    <a:bodyPr/>
                    <a:lstStyle/>
                    <a:p>
                      <a:r>
                        <a:rPr lang="en-US" sz="2000" b="0" dirty="0" smtClean="0">
                          <a:solidFill>
                            <a:schemeClr val="tx1">
                              <a:lumMod val="75000"/>
                              <a:lumOff val="25000"/>
                            </a:schemeClr>
                          </a:solidFill>
                          <a:latin typeface="+mj-lt"/>
                        </a:rPr>
                        <a:t>SSD Raw Storage Capacity</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895343" rtl="0" eaLnBrk="1" fontAlgn="auto" latinLnBrk="0" hangingPunct="1">
                        <a:lnSpc>
                          <a:spcPct val="100000"/>
                        </a:lnSpc>
                        <a:spcBef>
                          <a:spcPts val="0"/>
                        </a:spcBef>
                        <a:spcAft>
                          <a:spcPts val="0"/>
                        </a:spcAft>
                        <a:buClrTx/>
                        <a:buSzTx/>
                        <a:buFontTx/>
                        <a:buNone/>
                        <a:tabLst/>
                        <a:defRPr/>
                      </a:pPr>
                      <a:r>
                        <a:rPr lang="en-US" sz="2000" b="0" dirty="0" smtClean="0">
                          <a:solidFill>
                            <a:schemeClr val="tx1">
                              <a:lumMod val="75000"/>
                              <a:lumOff val="25000"/>
                            </a:schemeClr>
                          </a:solidFill>
                          <a:latin typeface="+mj-lt"/>
                        </a:rPr>
                        <a:t>38.4TB</a:t>
                      </a: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38.4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153.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46416915"/>
                  </a:ext>
                </a:extLst>
              </a:tr>
              <a:tr h="412537">
                <a:tc>
                  <a:txBody>
                    <a:bodyPr/>
                    <a:lstStyle/>
                    <a:p>
                      <a:r>
                        <a:rPr lang="en-US" sz="2000" b="0" dirty="0" smtClean="0">
                          <a:solidFill>
                            <a:schemeClr val="tx1">
                              <a:lumMod val="75000"/>
                              <a:lumOff val="25000"/>
                            </a:schemeClr>
                          </a:solidFill>
                          <a:latin typeface="+mj-lt"/>
                        </a:rPr>
                        <a:t>Storage Used for Backup</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2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12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r>
                        <a:rPr lang="en-US" sz="2000" b="0" dirty="0" smtClean="0">
                          <a:solidFill>
                            <a:schemeClr val="tx1">
                              <a:lumMod val="75000"/>
                              <a:lumOff val="25000"/>
                            </a:schemeClr>
                          </a:solidFill>
                          <a:latin typeface="+mj-lt"/>
                        </a:rPr>
                        <a:t>504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265481718"/>
                  </a:ext>
                </a:extLst>
              </a:tr>
              <a:tr h="412537">
                <a:tc>
                  <a:txBody>
                    <a:bodyPr/>
                    <a:lstStyle/>
                    <a:p>
                      <a:r>
                        <a:rPr lang="en-US" sz="2000" b="0" dirty="0" smtClean="0">
                          <a:solidFill>
                            <a:schemeClr val="tx1">
                              <a:lumMod val="75000"/>
                              <a:lumOff val="25000"/>
                            </a:schemeClr>
                          </a:solidFill>
                          <a:latin typeface="+mj-lt"/>
                        </a:rPr>
                        <a:t>Storage</a:t>
                      </a:r>
                      <a:r>
                        <a:rPr lang="en-US" sz="2000" b="0" baseline="0" dirty="0" smtClean="0">
                          <a:solidFill>
                            <a:schemeClr val="tx1">
                              <a:lumMod val="75000"/>
                              <a:lumOff val="25000"/>
                            </a:schemeClr>
                          </a:solidFill>
                          <a:latin typeface="+mj-lt"/>
                        </a:rPr>
                        <a:t> Available for Workloads</a:t>
                      </a:r>
                      <a:endParaRPr lang="en-US" sz="2000" b="0" dirty="0">
                        <a:solidFill>
                          <a:schemeClr val="tx1">
                            <a:lumMod val="75000"/>
                            <a:lumOff val="25000"/>
                          </a:schemeClr>
                        </a:solidFill>
                        <a:latin typeface="+mj-lt"/>
                      </a:endParaRPr>
                    </a:p>
                  </a:txBody>
                  <a:tcPr marL="87857" marR="87857" marT="0" marB="0" anchor="ctr">
                    <a:lnL w="12700" cmpd="sng">
                      <a:noFill/>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13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156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lang="en-US" sz="2000" b="0" dirty="0" smtClean="0">
                          <a:solidFill>
                            <a:schemeClr val="tx1">
                              <a:lumMod val="75000"/>
                              <a:lumOff val="25000"/>
                            </a:schemeClr>
                          </a:solidFill>
                          <a:latin typeface="+mj-lt"/>
                        </a:rPr>
                        <a:t>605TB</a:t>
                      </a:r>
                      <a:endParaRPr lang="en-US" sz="2000" b="0" dirty="0">
                        <a:solidFill>
                          <a:schemeClr val="tx1">
                            <a:lumMod val="75000"/>
                            <a:lumOff val="25000"/>
                          </a:schemeClr>
                        </a:solidFill>
                        <a:latin typeface="+mj-lt"/>
                      </a:endParaRPr>
                    </a:p>
                  </a:txBody>
                  <a:tcPr marL="87857" marR="87857" marT="0" marB="0" anchor="ctr">
                    <a:lnL w="5715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497283836"/>
                  </a:ext>
                </a:extLst>
              </a:tr>
            </a:tbl>
          </a:graphicData>
        </a:graphic>
      </p:graphicFrame>
    </p:spTree>
    <p:extLst>
      <p:ext uri="{BB962C8B-B14F-4D97-AF65-F5344CB8AC3E}">
        <p14:creationId xmlns:p14="http://schemas.microsoft.com/office/powerpoint/2010/main" val="221277408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Freeform 231"/>
          <p:cNvSpPr/>
          <p:nvPr/>
        </p:nvSpPr>
        <p:spPr bwMode="auto">
          <a:xfrm rot="19829714">
            <a:off x="1606382" y="2613033"/>
            <a:ext cx="6872772" cy="2676943"/>
          </a:xfrm>
          <a:custGeom>
            <a:avLst/>
            <a:gdLst>
              <a:gd name="connsiteX0" fmla="*/ 7010585 w 7010585"/>
              <a:gd name="connsiteY0" fmla="*/ 634197 h 2730621"/>
              <a:gd name="connsiteX1" fmla="*/ 5994244 w 7010585"/>
              <a:gd name="connsiteY1" fmla="*/ 2730621 h 2730621"/>
              <a:gd name="connsiteX2" fmla="*/ 1292916 w 7010585"/>
              <a:gd name="connsiteY2" fmla="*/ 1612787 h 2730621"/>
              <a:gd name="connsiteX3" fmla="*/ 1264263 w 7010585"/>
              <a:gd name="connsiteY3" fmla="*/ 1616474 h 2730621"/>
              <a:gd name="connsiteX4" fmla="*/ 246022 w 7010585"/>
              <a:gd name="connsiteY4" fmla="*/ 1040269 h 2730621"/>
              <a:gd name="connsiteX5" fmla="*/ 228650 w 7010585"/>
              <a:gd name="connsiteY5" fmla="*/ 986478 h 2730621"/>
              <a:gd name="connsiteX6" fmla="*/ 527887 w 7010585"/>
              <a:gd name="connsiteY6" fmla="*/ 457681 h 2730621"/>
              <a:gd name="connsiteX7" fmla="*/ 0 w 7010585"/>
              <a:gd name="connsiteY7" fmla="*/ 158959 h 2730621"/>
              <a:gd name="connsiteX8" fmla="*/ 837715 w 7010585"/>
              <a:gd name="connsiteY8" fmla="*/ 86313 h 2730621"/>
              <a:gd name="connsiteX9" fmla="*/ 7010585 w 7010585"/>
              <a:gd name="connsiteY9" fmla="*/ 634197 h 273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10585" h="2730621">
                <a:moveTo>
                  <a:pt x="7010585" y="634197"/>
                </a:moveTo>
                <a:lnTo>
                  <a:pt x="5994244" y="2730621"/>
                </a:lnTo>
                <a:cubicBezTo>
                  <a:pt x="4215648" y="1801234"/>
                  <a:pt x="3104025" y="1414803"/>
                  <a:pt x="1292916" y="1612787"/>
                </a:cubicBezTo>
                <a:lnTo>
                  <a:pt x="1264263" y="1616474"/>
                </a:lnTo>
                <a:lnTo>
                  <a:pt x="246022" y="1040269"/>
                </a:lnTo>
                <a:lnTo>
                  <a:pt x="228650" y="986478"/>
                </a:lnTo>
                <a:lnTo>
                  <a:pt x="527887" y="457681"/>
                </a:lnTo>
                <a:lnTo>
                  <a:pt x="0" y="158959"/>
                </a:lnTo>
                <a:lnTo>
                  <a:pt x="837715" y="86313"/>
                </a:lnTo>
                <a:cubicBezTo>
                  <a:pt x="2884322" y="-72372"/>
                  <a:pt x="4958786" y="-75568"/>
                  <a:pt x="7010585" y="634197"/>
                </a:cubicBezTo>
                <a:close/>
              </a:path>
            </a:pathLst>
          </a:cu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6"/>
          <p:cNvSpPr>
            <a:spLocks noGrp="1"/>
          </p:cNvSpPr>
          <p:nvPr>
            <p:ph type="title"/>
          </p:nvPr>
        </p:nvSpPr>
        <p:spPr/>
        <p:txBody>
          <a:bodyPr/>
          <a:lstStyle/>
          <a:p>
            <a:r>
              <a:rPr lang="en-US" dirty="0"/>
              <a:t>Transform the </a:t>
            </a:r>
            <a:r>
              <a:rPr lang="en-US" dirty="0" smtClean="0"/>
              <a:t>datacenter</a:t>
            </a:r>
            <a:endParaRPr lang="en-US" dirty="0"/>
          </a:p>
        </p:txBody>
      </p:sp>
      <p:sp>
        <p:nvSpPr>
          <p:cNvPr id="97" name="Freeform 5"/>
          <p:cNvSpPr>
            <a:spLocks/>
          </p:cNvSpPr>
          <p:nvPr/>
        </p:nvSpPr>
        <p:spPr bwMode="auto">
          <a:xfrm>
            <a:off x="6617106" y="1379317"/>
            <a:ext cx="4046302" cy="2568630"/>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6"/>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44821" bIns="89642" numCol="1" spcCol="0" rtlCol="0" fromWordArt="0" anchor="b" anchorCtr="0" forceAA="0" compatLnSpc="1">
            <a:prstTxWarp prst="textNoShape">
              <a:avLst/>
            </a:prstTxWarp>
            <a:noAutofit/>
          </a:bodyPr>
          <a:lstStyle/>
          <a:p>
            <a:pPr algn="ctr" defTabSz="895663" fontAlgn="base"/>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24" name="Freeform 5"/>
          <p:cNvSpPr>
            <a:spLocks/>
          </p:cNvSpPr>
          <p:nvPr/>
        </p:nvSpPr>
        <p:spPr bwMode="auto">
          <a:xfrm>
            <a:off x="9105945" y="1499777"/>
            <a:ext cx="1924688" cy="129000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accent1"/>
          </a:solidFill>
          <a:ln>
            <a:noFill/>
          </a:ln>
        </p:spPr>
        <p:txBody>
          <a:bodyPr vert="horz" wrap="square" lIns="89630" tIns="44814" rIns="89630" bIns="44814" numCol="1" anchor="t" anchorCtr="0" compatLnSpc="1">
            <a:prstTxWarp prst="textNoShape">
              <a:avLst/>
            </a:prstTxWarp>
          </a:bodyPr>
          <a:lstStyle/>
          <a:p>
            <a:pPr defTabSz="914225"/>
            <a:endParaRPr lang="en-US" sz="1765" dirty="0">
              <a:solidFill>
                <a:srgbClr val="000000"/>
              </a:solidFill>
            </a:endParaRPr>
          </a:p>
        </p:txBody>
      </p:sp>
      <p:sp>
        <p:nvSpPr>
          <p:cNvPr id="189" name="TextBox 188"/>
          <p:cNvSpPr txBox="1"/>
          <p:nvPr/>
        </p:nvSpPr>
        <p:spPr>
          <a:xfrm>
            <a:off x="633024" y="1150290"/>
            <a:ext cx="3963285" cy="1612452"/>
          </a:xfrm>
          <a:prstGeom prst="rect">
            <a:avLst/>
          </a:prstGeom>
          <a:noFill/>
        </p:spPr>
        <p:txBody>
          <a:bodyPr wrap="square" lIns="0" tIns="0" rIns="0" bIns="0" rtlCol="0" anchor="ctr">
            <a:noAutofit/>
          </a:bodyPr>
          <a:lstStyle/>
          <a:p>
            <a:pPr defTabSz="896214">
              <a:defRPr/>
            </a:pPr>
            <a:r>
              <a:rPr lang="en-US" sz="2157" kern="0" dirty="0">
                <a:solidFill>
                  <a:srgbClr val="505050"/>
                </a:solidFill>
              </a:rPr>
              <a:t>Today’s datacenter needs:</a:t>
            </a:r>
          </a:p>
          <a:p>
            <a:pPr marL="336145" indent="-336145" defTabSz="896214">
              <a:buFont typeface="Arial" panose="020B0604020202020204" pitchFamily="34" charset="0"/>
              <a:buChar char="•"/>
              <a:defRPr/>
            </a:pPr>
            <a:r>
              <a:rPr lang="en-US" sz="2157" kern="0" dirty="0">
                <a:solidFill>
                  <a:srgbClr val="505050"/>
                </a:solidFill>
              </a:rPr>
              <a:t>On-demand</a:t>
            </a:r>
          </a:p>
          <a:p>
            <a:pPr marL="336145" indent="-336145" defTabSz="896214">
              <a:buFont typeface="Arial" panose="020B0604020202020204" pitchFamily="34" charset="0"/>
              <a:buChar char="•"/>
              <a:defRPr/>
            </a:pPr>
            <a:r>
              <a:rPr lang="en-US" sz="2157" kern="0" dirty="0">
                <a:solidFill>
                  <a:srgbClr val="505050"/>
                </a:solidFill>
              </a:rPr>
              <a:t>Reduce cost &amp; complexity</a:t>
            </a:r>
          </a:p>
          <a:p>
            <a:pPr marL="336145" indent="-336145" defTabSz="896214">
              <a:buFont typeface="Arial" panose="020B0604020202020204" pitchFamily="34" charset="0"/>
              <a:buChar char="•"/>
              <a:defRPr/>
            </a:pPr>
            <a:r>
              <a:rPr lang="en-US" sz="2157" kern="0" dirty="0">
                <a:solidFill>
                  <a:srgbClr val="505050"/>
                </a:solidFill>
              </a:rPr>
              <a:t>Rapid response to business</a:t>
            </a:r>
            <a:endParaRPr lang="en-US" sz="2157" kern="0" dirty="0">
              <a:solidFill>
                <a:srgbClr val="505050"/>
              </a:solidFill>
            </a:endParaRPr>
          </a:p>
        </p:txBody>
      </p:sp>
      <p:grpSp>
        <p:nvGrpSpPr>
          <p:cNvPr id="4" name="Group 3"/>
          <p:cNvGrpSpPr/>
          <p:nvPr/>
        </p:nvGrpSpPr>
        <p:grpSpPr>
          <a:xfrm>
            <a:off x="7548749" y="1619560"/>
            <a:ext cx="1348909" cy="1725901"/>
            <a:chOff x="7638690" y="1636444"/>
            <a:chExt cx="1437384" cy="1839104"/>
          </a:xfrm>
        </p:grpSpPr>
        <p:sp>
          <p:nvSpPr>
            <p:cNvPr id="169" name="Freeform 5"/>
            <p:cNvSpPr>
              <a:spLocks/>
            </p:cNvSpPr>
            <p:nvPr/>
          </p:nvSpPr>
          <p:spPr bwMode="auto">
            <a:xfrm>
              <a:off x="8118205" y="1636444"/>
              <a:ext cx="957869" cy="622149"/>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solidFill>
            <a:ln>
              <a:noFill/>
            </a:ln>
          </p:spPr>
          <p:txBody>
            <a:bodyPr vert="horz" wrap="square" lIns="89630" tIns="44814" rIns="89630" bIns="44814" numCol="1" anchor="t" anchorCtr="0" compatLnSpc="1">
              <a:prstTxWarp prst="textNoShape">
                <a:avLst/>
              </a:prstTxWarp>
            </a:bodyPr>
            <a:lstStyle/>
            <a:p>
              <a:pPr defTabSz="914225"/>
              <a:endParaRPr lang="en-US" sz="1765" dirty="0">
                <a:solidFill>
                  <a:srgbClr val="000000"/>
                </a:solidFill>
              </a:endParaRPr>
            </a:p>
          </p:txBody>
        </p:sp>
        <p:sp>
          <p:nvSpPr>
            <p:cNvPr id="191" name="Rectangle 23"/>
            <p:cNvSpPr>
              <a:spLocks noChangeArrowheads="1"/>
            </p:cNvSpPr>
            <p:nvPr/>
          </p:nvSpPr>
          <p:spPr bwMode="auto">
            <a:xfrm>
              <a:off x="7638690" y="1986114"/>
              <a:ext cx="845195" cy="1489433"/>
            </a:xfrm>
            <a:prstGeom prst="rect">
              <a:avLst/>
            </a:prstGeom>
            <a:solidFill>
              <a:schemeClr val="accent2"/>
            </a:solidFill>
            <a:ln w="28575">
              <a:solidFill>
                <a:schemeClr val="bg1"/>
              </a:solidFill>
              <a:miter lim="800000"/>
              <a:headEnd/>
              <a:tailEnd/>
            </a:ln>
            <a:extLst/>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2" name="Rectangle 24"/>
            <p:cNvSpPr>
              <a:spLocks noChangeArrowheads="1"/>
            </p:cNvSpPr>
            <p:nvPr/>
          </p:nvSpPr>
          <p:spPr bwMode="auto">
            <a:xfrm>
              <a:off x="8054326" y="3268300"/>
              <a:ext cx="229493" cy="194038"/>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3" name="Rectangle 28"/>
            <p:cNvSpPr>
              <a:spLocks noChangeArrowheads="1"/>
            </p:cNvSpPr>
            <p:nvPr/>
          </p:nvSpPr>
          <p:spPr bwMode="auto">
            <a:xfrm>
              <a:off x="7722135" y="2516685"/>
              <a:ext cx="683645" cy="109737"/>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4" name="Rectangle 29"/>
            <p:cNvSpPr>
              <a:spLocks noChangeArrowheads="1"/>
            </p:cNvSpPr>
            <p:nvPr/>
          </p:nvSpPr>
          <p:spPr bwMode="auto">
            <a:xfrm>
              <a:off x="7722135" y="2706329"/>
              <a:ext cx="683645" cy="109737"/>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5" name="Rectangle 30"/>
            <p:cNvSpPr>
              <a:spLocks noChangeArrowheads="1"/>
            </p:cNvSpPr>
            <p:nvPr/>
          </p:nvSpPr>
          <p:spPr bwMode="auto">
            <a:xfrm>
              <a:off x="7722135" y="2895967"/>
              <a:ext cx="683645" cy="108672"/>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6" name="Rectangle 31"/>
            <p:cNvSpPr>
              <a:spLocks noChangeArrowheads="1"/>
            </p:cNvSpPr>
            <p:nvPr/>
          </p:nvSpPr>
          <p:spPr bwMode="auto">
            <a:xfrm>
              <a:off x="7722135" y="3085614"/>
              <a:ext cx="683645" cy="108672"/>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7" name="Rectangle 32"/>
            <p:cNvSpPr>
              <a:spLocks noChangeArrowheads="1"/>
            </p:cNvSpPr>
            <p:nvPr/>
          </p:nvSpPr>
          <p:spPr bwMode="auto">
            <a:xfrm>
              <a:off x="7722135" y="2138472"/>
              <a:ext cx="683645" cy="108672"/>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198" name="Rectangle 33"/>
            <p:cNvSpPr>
              <a:spLocks noChangeArrowheads="1"/>
            </p:cNvSpPr>
            <p:nvPr/>
          </p:nvSpPr>
          <p:spPr bwMode="auto">
            <a:xfrm>
              <a:off x="7722135" y="2328109"/>
              <a:ext cx="683645" cy="108672"/>
            </a:xfrm>
            <a:prstGeom prst="rect">
              <a:avLst/>
            </a:prstGeom>
            <a:solidFill>
              <a:schemeClr val="accent3">
                <a:lumMod val="5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grpSp>
          <p:nvGrpSpPr>
            <p:cNvPr id="2067" name="Group 2066"/>
            <p:cNvGrpSpPr/>
            <p:nvPr/>
          </p:nvGrpSpPr>
          <p:grpSpPr>
            <a:xfrm>
              <a:off x="8197747" y="2386371"/>
              <a:ext cx="680996" cy="1089177"/>
              <a:chOff x="8347655" y="2743572"/>
              <a:chExt cx="680996" cy="1089177"/>
            </a:xfrm>
          </p:grpSpPr>
          <p:sp>
            <p:nvSpPr>
              <p:cNvPr id="200" name="Rectangle 23"/>
              <p:cNvSpPr>
                <a:spLocks noChangeArrowheads="1"/>
              </p:cNvSpPr>
              <p:nvPr/>
            </p:nvSpPr>
            <p:spPr bwMode="auto">
              <a:xfrm>
                <a:off x="8347655" y="2743572"/>
                <a:ext cx="680996" cy="1089177"/>
              </a:xfrm>
              <a:prstGeom prst="rect">
                <a:avLst/>
              </a:prstGeom>
              <a:solidFill>
                <a:schemeClr val="accent2">
                  <a:lumMod val="75000"/>
                </a:schemeClr>
              </a:solidFill>
              <a:ln w="28575">
                <a:solidFill>
                  <a:schemeClr val="bg1"/>
                </a:solidFill>
                <a:miter lim="800000"/>
                <a:headEnd/>
                <a:tailEnd/>
              </a:ln>
              <a:extLst/>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1" name="Rectangle 24"/>
              <p:cNvSpPr>
                <a:spLocks noChangeArrowheads="1"/>
              </p:cNvSpPr>
              <p:nvPr/>
            </p:nvSpPr>
            <p:spPr bwMode="auto">
              <a:xfrm>
                <a:off x="8682544" y="3682475"/>
                <a:ext cx="184909" cy="137064"/>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2" name="Rectangle 28"/>
              <p:cNvSpPr>
                <a:spLocks noChangeArrowheads="1"/>
              </p:cNvSpPr>
              <p:nvPr/>
            </p:nvSpPr>
            <p:spPr bwMode="auto">
              <a:xfrm>
                <a:off x="8414889" y="3131562"/>
                <a:ext cx="550831" cy="80247"/>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3" name="Rectangle 29"/>
              <p:cNvSpPr>
                <a:spLocks noChangeArrowheads="1"/>
              </p:cNvSpPr>
              <p:nvPr/>
            </p:nvSpPr>
            <p:spPr bwMode="auto">
              <a:xfrm>
                <a:off x="8414889" y="3270244"/>
                <a:ext cx="550831" cy="80247"/>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4" name="Rectangle 30"/>
              <p:cNvSpPr>
                <a:spLocks noChangeArrowheads="1"/>
              </p:cNvSpPr>
              <p:nvPr/>
            </p:nvSpPr>
            <p:spPr bwMode="auto">
              <a:xfrm>
                <a:off x="8414889" y="3408920"/>
                <a:ext cx="550831" cy="79468"/>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5" name="Rectangle 31"/>
              <p:cNvSpPr>
                <a:spLocks noChangeArrowheads="1"/>
              </p:cNvSpPr>
              <p:nvPr/>
            </p:nvSpPr>
            <p:spPr bwMode="auto">
              <a:xfrm>
                <a:off x="8414889" y="3547603"/>
                <a:ext cx="550831" cy="79468"/>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6" name="Rectangle 32"/>
              <p:cNvSpPr>
                <a:spLocks noChangeArrowheads="1"/>
              </p:cNvSpPr>
              <p:nvPr/>
            </p:nvSpPr>
            <p:spPr bwMode="auto">
              <a:xfrm>
                <a:off x="8414889" y="2854987"/>
                <a:ext cx="550831" cy="79468"/>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sp>
            <p:nvSpPr>
              <p:cNvPr id="207" name="Rectangle 33"/>
              <p:cNvSpPr>
                <a:spLocks noChangeArrowheads="1"/>
              </p:cNvSpPr>
              <p:nvPr/>
            </p:nvSpPr>
            <p:spPr bwMode="auto">
              <a:xfrm>
                <a:off x="8414889" y="2993662"/>
                <a:ext cx="550831" cy="79468"/>
              </a:xfrm>
              <a:prstGeom prst="rect">
                <a:avLst/>
              </a:prstGeom>
              <a:solidFill>
                <a:schemeClr val="tx2">
                  <a:lumMod val="40000"/>
                  <a:lumOff val="60000"/>
                  <a:alpha val="32000"/>
                </a:schemeClr>
              </a:solidFill>
              <a:ln>
                <a:noFill/>
              </a:ln>
            </p:spPr>
            <p:txBody>
              <a:bodyPr vert="horz" wrap="square" lIns="91376" tIns="45687" rIns="91376" bIns="45687" numCol="1" anchor="t" anchorCtr="0" compatLnSpc="1">
                <a:prstTxWarp prst="textNoShape">
                  <a:avLst/>
                </a:prstTxWarp>
              </a:bodyPr>
              <a:lstStyle/>
              <a:p>
                <a:pPr defTabSz="913707"/>
                <a:endParaRPr lang="en-US" sz="1765" dirty="0">
                  <a:solidFill>
                    <a:prstClr val="black"/>
                  </a:solidFill>
                </a:endParaRPr>
              </a:p>
            </p:txBody>
          </p:sp>
        </p:grpSp>
      </p:grpSp>
      <p:sp>
        <p:nvSpPr>
          <p:cNvPr id="216" name="Rectangle 12"/>
          <p:cNvSpPr>
            <a:spLocks noChangeArrowheads="1"/>
          </p:cNvSpPr>
          <p:nvPr/>
        </p:nvSpPr>
        <p:spPr bwMode="auto">
          <a:xfrm flipH="1">
            <a:off x="657223" y="4614644"/>
            <a:ext cx="1406988" cy="1750299"/>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7" name="Rectangle 13"/>
          <p:cNvSpPr>
            <a:spLocks noChangeArrowheads="1"/>
          </p:cNvSpPr>
          <p:nvPr/>
        </p:nvSpPr>
        <p:spPr bwMode="auto">
          <a:xfrm flipH="1">
            <a:off x="588120" y="4561721"/>
            <a:ext cx="1549031" cy="53745"/>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8" name="Rectangle 14"/>
          <p:cNvSpPr>
            <a:spLocks noChangeArrowheads="1"/>
          </p:cNvSpPr>
          <p:nvPr/>
        </p:nvSpPr>
        <p:spPr bwMode="auto">
          <a:xfrm flipH="1">
            <a:off x="1106385" y="6007919"/>
            <a:ext cx="184271" cy="357025"/>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9" name="Rectangle 15"/>
          <p:cNvSpPr>
            <a:spLocks noChangeArrowheads="1"/>
          </p:cNvSpPr>
          <p:nvPr/>
        </p:nvSpPr>
        <p:spPr bwMode="auto">
          <a:xfrm flipH="1">
            <a:off x="1426939" y="6007919"/>
            <a:ext cx="184271" cy="357025"/>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0" name="Rectangle 16"/>
          <p:cNvSpPr>
            <a:spLocks noChangeArrowheads="1"/>
          </p:cNvSpPr>
          <p:nvPr/>
        </p:nvSpPr>
        <p:spPr bwMode="auto">
          <a:xfrm flipH="1">
            <a:off x="787747" y="4766008"/>
            <a:ext cx="1138260" cy="18427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1" name="Rectangle 17"/>
          <p:cNvSpPr>
            <a:spLocks noChangeArrowheads="1"/>
          </p:cNvSpPr>
          <p:nvPr/>
        </p:nvSpPr>
        <p:spPr bwMode="auto">
          <a:xfrm flipH="1">
            <a:off x="787747" y="5078885"/>
            <a:ext cx="1138260" cy="18427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2" name="Rectangle 18"/>
          <p:cNvSpPr>
            <a:spLocks noChangeArrowheads="1"/>
          </p:cNvSpPr>
          <p:nvPr/>
        </p:nvSpPr>
        <p:spPr bwMode="auto">
          <a:xfrm flipH="1">
            <a:off x="787747" y="5397521"/>
            <a:ext cx="1138260" cy="180432"/>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3" name="Rectangle 19"/>
          <p:cNvSpPr>
            <a:spLocks noChangeArrowheads="1"/>
          </p:cNvSpPr>
          <p:nvPr/>
        </p:nvSpPr>
        <p:spPr bwMode="auto">
          <a:xfrm flipH="1">
            <a:off x="787747" y="5712317"/>
            <a:ext cx="1138260" cy="18427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4" name="Rectangle 22"/>
          <p:cNvSpPr>
            <a:spLocks noChangeArrowheads="1"/>
          </p:cNvSpPr>
          <p:nvPr/>
        </p:nvSpPr>
        <p:spPr bwMode="auto">
          <a:xfrm flipH="1">
            <a:off x="887563" y="4342899"/>
            <a:ext cx="168915" cy="218822"/>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5" name="Rectangle 23"/>
          <p:cNvSpPr>
            <a:spLocks noChangeArrowheads="1"/>
          </p:cNvSpPr>
          <p:nvPr/>
        </p:nvSpPr>
        <p:spPr bwMode="auto">
          <a:xfrm flipH="1">
            <a:off x="1114063" y="4342899"/>
            <a:ext cx="168915" cy="218822"/>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nvGrpSpPr>
          <p:cNvPr id="3" name="Group 2"/>
          <p:cNvGrpSpPr/>
          <p:nvPr/>
        </p:nvGrpSpPr>
        <p:grpSpPr>
          <a:xfrm>
            <a:off x="1968166" y="5192684"/>
            <a:ext cx="1542831" cy="1172260"/>
            <a:chOff x="2007631" y="5296312"/>
            <a:chExt cx="1573768" cy="1195766"/>
          </a:xfrm>
        </p:grpSpPr>
        <p:sp>
          <p:nvSpPr>
            <p:cNvPr id="226" name="Rectangle 6"/>
            <p:cNvSpPr>
              <a:spLocks noChangeArrowheads="1"/>
            </p:cNvSpPr>
            <p:nvPr/>
          </p:nvSpPr>
          <p:spPr bwMode="auto">
            <a:xfrm flipH="1">
              <a:off x="2085000" y="5352533"/>
              <a:ext cx="1418038" cy="1139545"/>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7" name="Rectangle 7"/>
            <p:cNvSpPr>
              <a:spLocks noChangeArrowheads="1"/>
            </p:cNvSpPr>
            <p:nvPr/>
          </p:nvSpPr>
          <p:spPr bwMode="auto">
            <a:xfrm flipH="1">
              <a:off x="2007631" y="5296312"/>
              <a:ext cx="1573768" cy="57619"/>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8" name="Rectangle 8"/>
            <p:cNvSpPr>
              <a:spLocks noChangeArrowheads="1"/>
            </p:cNvSpPr>
            <p:nvPr/>
          </p:nvSpPr>
          <p:spPr bwMode="auto">
            <a:xfrm flipH="1">
              <a:off x="2545128" y="6127894"/>
              <a:ext cx="187966" cy="36418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9" name="Rectangle 9"/>
            <p:cNvSpPr>
              <a:spLocks noChangeArrowheads="1"/>
            </p:cNvSpPr>
            <p:nvPr/>
          </p:nvSpPr>
          <p:spPr bwMode="auto">
            <a:xfrm flipH="1">
              <a:off x="2870153" y="6127894"/>
              <a:ext cx="184050" cy="36418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0" name="Rectangle 10"/>
            <p:cNvSpPr>
              <a:spLocks noChangeArrowheads="1"/>
            </p:cNvSpPr>
            <p:nvPr/>
          </p:nvSpPr>
          <p:spPr bwMode="auto">
            <a:xfrm flipH="1">
              <a:off x="2118837" y="5505256"/>
              <a:ext cx="1260714" cy="184050"/>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1" name="Rectangle 11"/>
            <p:cNvSpPr>
              <a:spLocks noChangeArrowheads="1"/>
            </p:cNvSpPr>
            <p:nvPr/>
          </p:nvSpPr>
          <p:spPr bwMode="auto">
            <a:xfrm flipH="1">
              <a:off x="2118837" y="5826365"/>
              <a:ext cx="1260714" cy="187966"/>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sp>
        <p:nvSpPr>
          <p:cNvPr id="234" name="TextBox 233"/>
          <p:cNvSpPr txBox="1"/>
          <p:nvPr/>
        </p:nvSpPr>
        <p:spPr>
          <a:xfrm>
            <a:off x="7665015" y="3454361"/>
            <a:ext cx="1950483" cy="374659"/>
          </a:xfrm>
          <a:prstGeom prst="rect">
            <a:avLst/>
          </a:prstGeom>
          <a:noFill/>
        </p:spPr>
        <p:txBody>
          <a:bodyPr wrap="square" lIns="0" tIns="0" rIns="0" bIns="0" rtlCol="0" anchor="ctr">
            <a:noAutofit/>
          </a:bodyPr>
          <a:lstStyle/>
          <a:p>
            <a:pPr algn="ctr" defTabSz="914225"/>
            <a:r>
              <a:rPr lang="en-US" sz="2745" dirty="0">
                <a:solidFill>
                  <a:srgbClr val="FFFFFF"/>
                </a:solidFill>
                <a:latin typeface="Segoe UI Light"/>
              </a:rPr>
              <a:t>Hybrid cloud</a:t>
            </a:r>
          </a:p>
        </p:txBody>
      </p:sp>
      <p:grpSp>
        <p:nvGrpSpPr>
          <p:cNvPr id="11" name="Group 10"/>
          <p:cNvGrpSpPr/>
          <p:nvPr/>
        </p:nvGrpSpPr>
        <p:grpSpPr>
          <a:xfrm>
            <a:off x="5321634" y="4320564"/>
            <a:ext cx="2043191" cy="2059168"/>
            <a:chOff x="5428343" y="4406703"/>
            <a:chExt cx="2084161" cy="2100459"/>
          </a:xfrm>
        </p:grpSpPr>
        <p:sp>
          <p:nvSpPr>
            <p:cNvPr id="96" name="Rectangle 95"/>
            <p:cNvSpPr/>
            <p:nvPr/>
          </p:nvSpPr>
          <p:spPr bwMode="auto">
            <a:xfrm>
              <a:off x="5428343"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86" name="Rectangle 85"/>
            <p:cNvSpPr/>
            <p:nvPr/>
          </p:nvSpPr>
          <p:spPr bwMode="auto">
            <a:xfrm>
              <a:off x="5428343" y="4406703"/>
              <a:ext cx="2084161" cy="68580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Cloud options</a:t>
              </a:r>
            </a:p>
            <a:p>
              <a:pPr algn="ctr" defTabSz="914225"/>
              <a:r>
                <a:rPr lang="en-US" sz="1568" dirty="0">
                  <a:solidFill>
                    <a:srgbClr val="FFFFFF"/>
                  </a:solidFill>
                </a:rPr>
                <a:t>on demand</a:t>
              </a:r>
            </a:p>
          </p:txBody>
        </p:sp>
        <p:sp>
          <p:nvSpPr>
            <p:cNvPr id="110" name="Freeform 5"/>
            <p:cNvSpPr>
              <a:spLocks/>
            </p:cNvSpPr>
            <p:nvPr/>
          </p:nvSpPr>
          <p:spPr bwMode="auto">
            <a:xfrm>
              <a:off x="5820348" y="5381776"/>
              <a:ext cx="1300149" cy="870714"/>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endParaRPr lang="en-US" sz="1765" dirty="0">
                <a:solidFill>
                  <a:srgbClr val="000000"/>
                </a:solidFill>
              </a:endParaRPr>
            </a:p>
          </p:txBody>
        </p:sp>
      </p:grpSp>
      <p:grpSp>
        <p:nvGrpSpPr>
          <p:cNvPr id="10" name="Group 9"/>
          <p:cNvGrpSpPr/>
          <p:nvPr/>
        </p:nvGrpSpPr>
        <p:grpSpPr>
          <a:xfrm>
            <a:off x="7451199" y="4320564"/>
            <a:ext cx="2043191" cy="2059168"/>
            <a:chOff x="7600610" y="4406703"/>
            <a:chExt cx="2084161" cy="2100459"/>
          </a:xfrm>
        </p:grpSpPr>
        <p:sp>
          <p:nvSpPr>
            <p:cNvPr id="95" name="Rectangle 94"/>
            <p:cNvSpPr/>
            <p:nvPr/>
          </p:nvSpPr>
          <p:spPr bwMode="auto">
            <a:xfrm>
              <a:off x="7600610"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85" name="Rectangle 84"/>
            <p:cNvSpPr/>
            <p:nvPr/>
          </p:nvSpPr>
          <p:spPr bwMode="auto">
            <a:xfrm>
              <a:off x="7600610" y="4406703"/>
              <a:ext cx="2084161" cy="68580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Reduced cost</a:t>
              </a:r>
              <a:br>
                <a:rPr lang="en-US" sz="1568" dirty="0">
                  <a:solidFill>
                    <a:srgbClr val="FFFFFF"/>
                  </a:solidFill>
                </a:rPr>
              </a:br>
              <a:r>
                <a:rPr lang="en-US" sz="1568" dirty="0">
                  <a:solidFill>
                    <a:srgbClr val="FFFFFF"/>
                  </a:solidFill>
                </a:rPr>
                <a:t>and complexity</a:t>
              </a:r>
            </a:p>
          </p:txBody>
        </p:sp>
        <p:sp>
          <p:nvSpPr>
            <p:cNvPr id="115" name="Freeform 114"/>
            <p:cNvSpPr/>
            <p:nvPr/>
          </p:nvSpPr>
          <p:spPr>
            <a:xfrm>
              <a:off x="8264620" y="5176530"/>
              <a:ext cx="756140" cy="1246605"/>
            </a:xfrm>
            <a:custGeom>
              <a:avLst/>
              <a:gdLst/>
              <a:ahLst/>
              <a:cxnLst/>
              <a:rect l="l" t="t" r="r" b="b"/>
              <a:pathLst>
                <a:path w="973986" h="1605756">
                  <a:moveTo>
                    <a:pt x="456564" y="628057"/>
                  </a:moveTo>
                  <a:lnTo>
                    <a:pt x="525533" y="628057"/>
                  </a:lnTo>
                  <a:lnTo>
                    <a:pt x="525533" y="692348"/>
                  </a:lnTo>
                  <a:cubicBezTo>
                    <a:pt x="554714" y="693510"/>
                    <a:pt x="586966" y="699654"/>
                    <a:pt x="622090" y="710822"/>
                  </a:cubicBezTo>
                  <a:lnTo>
                    <a:pt x="601399" y="788987"/>
                  </a:lnTo>
                  <a:cubicBezTo>
                    <a:pt x="569212" y="766763"/>
                    <a:pt x="454263" y="735345"/>
                    <a:pt x="442769" y="805080"/>
                  </a:cubicBezTo>
                  <a:cubicBezTo>
                    <a:pt x="443535" y="868687"/>
                    <a:pt x="676499" y="867919"/>
                    <a:pt x="638182" y="1016588"/>
                  </a:cubicBezTo>
                  <a:cubicBezTo>
                    <a:pt x="630128" y="1039244"/>
                    <a:pt x="609170" y="1101596"/>
                    <a:pt x="525533" y="1117085"/>
                  </a:cubicBezTo>
                  <a:lnTo>
                    <a:pt x="525533" y="1191223"/>
                  </a:lnTo>
                  <a:lnTo>
                    <a:pt x="456564" y="1191223"/>
                  </a:lnTo>
                  <a:lnTo>
                    <a:pt x="456564" y="1119715"/>
                  </a:lnTo>
                  <a:cubicBezTo>
                    <a:pt x="423182" y="1118606"/>
                    <a:pt x="383772" y="1110436"/>
                    <a:pt x="337016" y="1094753"/>
                  </a:cubicBezTo>
                  <a:lnTo>
                    <a:pt x="357707" y="1018886"/>
                  </a:lnTo>
                  <a:cubicBezTo>
                    <a:pt x="412882" y="1042642"/>
                    <a:pt x="516336" y="1070997"/>
                    <a:pt x="537027" y="1000494"/>
                  </a:cubicBezTo>
                  <a:cubicBezTo>
                    <a:pt x="550821" y="922329"/>
                    <a:pt x="311726" y="954516"/>
                    <a:pt x="343912" y="793586"/>
                  </a:cubicBezTo>
                  <a:cubicBezTo>
                    <a:pt x="349927" y="747779"/>
                    <a:pt x="389465" y="707840"/>
                    <a:pt x="456564" y="695594"/>
                  </a:cubicBezTo>
                  <a:close/>
                  <a:moveTo>
                    <a:pt x="251903" y="504058"/>
                  </a:moveTo>
                  <a:lnTo>
                    <a:pt x="251903" y="624512"/>
                  </a:lnTo>
                  <a:lnTo>
                    <a:pt x="251903" y="874270"/>
                  </a:lnTo>
                  <a:lnTo>
                    <a:pt x="251903" y="984998"/>
                  </a:lnTo>
                  <a:lnTo>
                    <a:pt x="51568" y="984998"/>
                  </a:lnTo>
                  <a:lnTo>
                    <a:pt x="486993" y="1421189"/>
                  </a:lnTo>
                  <a:lnTo>
                    <a:pt x="922418" y="984998"/>
                  </a:lnTo>
                  <a:lnTo>
                    <a:pt x="722083" y="984998"/>
                  </a:lnTo>
                  <a:lnTo>
                    <a:pt x="722083" y="932376"/>
                  </a:lnTo>
                  <a:lnTo>
                    <a:pt x="722083" y="658051"/>
                  </a:lnTo>
                  <a:lnTo>
                    <a:pt x="722083" y="504058"/>
                  </a:lnTo>
                  <a:lnTo>
                    <a:pt x="546953" y="504058"/>
                  </a:lnTo>
                  <a:lnTo>
                    <a:pt x="332835" y="504058"/>
                  </a:lnTo>
                  <a:close/>
                  <a:moveTo>
                    <a:pt x="671504" y="0"/>
                  </a:moveTo>
                  <a:lnTo>
                    <a:pt x="551335" y="486326"/>
                  </a:lnTo>
                  <a:lnTo>
                    <a:pt x="749925" y="486326"/>
                  </a:lnTo>
                  <a:lnTo>
                    <a:pt x="749925" y="658051"/>
                  </a:lnTo>
                  <a:lnTo>
                    <a:pt x="893571" y="658051"/>
                  </a:lnTo>
                  <a:lnTo>
                    <a:pt x="749925" y="887838"/>
                  </a:lnTo>
                  <a:lnTo>
                    <a:pt x="749925" y="964200"/>
                  </a:lnTo>
                  <a:lnTo>
                    <a:pt x="973986" y="964200"/>
                  </a:lnTo>
                  <a:lnTo>
                    <a:pt x="486993" y="1457970"/>
                  </a:lnTo>
                  <a:lnTo>
                    <a:pt x="429782" y="1399963"/>
                  </a:lnTo>
                  <a:lnTo>
                    <a:pt x="301135" y="1605756"/>
                  </a:lnTo>
                  <a:lnTo>
                    <a:pt x="351754" y="1320849"/>
                  </a:lnTo>
                  <a:lnTo>
                    <a:pt x="0" y="964200"/>
                  </a:lnTo>
                  <a:lnTo>
                    <a:pt x="224061" y="964200"/>
                  </a:lnTo>
                  <a:lnTo>
                    <a:pt x="224061" y="874338"/>
                  </a:lnTo>
                  <a:lnTo>
                    <a:pt x="83819" y="874680"/>
                  </a:lnTo>
                  <a:lnTo>
                    <a:pt x="224061" y="665951"/>
                  </a:lnTo>
                  <a:lnTo>
                    <a:pt x="224061" y="486326"/>
                  </a:lnTo>
                  <a:lnTo>
                    <a:pt x="344749" y="486326"/>
                  </a:lnTo>
                  <a:close/>
                </a:path>
              </a:pathLst>
            </a:cu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42" tIns="44821" rIns="89642" bIns="44821"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12" name="Group 11"/>
          <p:cNvGrpSpPr/>
          <p:nvPr/>
        </p:nvGrpSpPr>
        <p:grpSpPr>
          <a:xfrm>
            <a:off x="9580765" y="4320564"/>
            <a:ext cx="2043191" cy="2059168"/>
            <a:chOff x="9772878" y="4406703"/>
            <a:chExt cx="2084161" cy="2100459"/>
          </a:xfrm>
        </p:grpSpPr>
        <p:sp>
          <p:nvSpPr>
            <p:cNvPr id="94" name="Rectangle 93"/>
            <p:cNvSpPr/>
            <p:nvPr/>
          </p:nvSpPr>
          <p:spPr bwMode="auto">
            <a:xfrm>
              <a:off x="9772878"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2" name="Rectangle 1"/>
            <p:cNvSpPr/>
            <p:nvPr/>
          </p:nvSpPr>
          <p:spPr bwMode="auto">
            <a:xfrm>
              <a:off x="9772878" y="4406703"/>
              <a:ext cx="2084161" cy="68580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Rapid response</a:t>
              </a:r>
            </a:p>
            <a:p>
              <a:pPr algn="ctr" defTabSz="914225"/>
              <a:r>
                <a:rPr lang="en-US" sz="1568" dirty="0">
                  <a:solidFill>
                    <a:srgbClr val="FFFFFF"/>
                  </a:solidFill>
                </a:rPr>
                <a:t>to business</a:t>
              </a:r>
            </a:p>
          </p:txBody>
        </p:sp>
        <p:sp>
          <p:nvSpPr>
            <p:cNvPr id="116" name="Rectangle 12"/>
            <p:cNvSpPr/>
            <p:nvPr/>
          </p:nvSpPr>
          <p:spPr>
            <a:xfrm>
              <a:off x="10398481" y="5253655"/>
              <a:ext cx="832954" cy="1092354"/>
            </a:xfrm>
            <a:custGeom>
              <a:avLst/>
              <a:gdLst/>
              <a:ahLst/>
              <a:cxnLst/>
              <a:rect l="l" t="t" r="r" b="b"/>
              <a:pathLst>
                <a:path w="3206568" h="4205164">
                  <a:moveTo>
                    <a:pt x="5939" y="3740297"/>
                  </a:moveTo>
                  <a:lnTo>
                    <a:pt x="497521" y="3740297"/>
                  </a:lnTo>
                  <a:lnTo>
                    <a:pt x="497521" y="4205162"/>
                  </a:lnTo>
                  <a:lnTo>
                    <a:pt x="5939" y="4205162"/>
                  </a:lnTo>
                  <a:close/>
                  <a:moveTo>
                    <a:pt x="683202" y="3579998"/>
                  </a:moveTo>
                  <a:lnTo>
                    <a:pt x="1174784" y="3579998"/>
                  </a:lnTo>
                  <a:lnTo>
                    <a:pt x="1174784" y="4205162"/>
                  </a:lnTo>
                  <a:lnTo>
                    <a:pt x="683202" y="4205162"/>
                  </a:lnTo>
                  <a:close/>
                  <a:moveTo>
                    <a:pt x="1360464" y="3360926"/>
                  </a:moveTo>
                  <a:lnTo>
                    <a:pt x="1852046" y="3360926"/>
                  </a:lnTo>
                  <a:lnTo>
                    <a:pt x="1852046" y="4205164"/>
                  </a:lnTo>
                  <a:lnTo>
                    <a:pt x="1360464" y="4205164"/>
                  </a:lnTo>
                  <a:close/>
                  <a:moveTo>
                    <a:pt x="2037727" y="2618208"/>
                  </a:moveTo>
                  <a:lnTo>
                    <a:pt x="2529309" y="2618208"/>
                  </a:lnTo>
                  <a:lnTo>
                    <a:pt x="2529309" y="4205164"/>
                  </a:lnTo>
                  <a:lnTo>
                    <a:pt x="2037727" y="4205164"/>
                  </a:lnTo>
                  <a:close/>
                  <a:moveTo>
                    <a:pt x="2714986" y="961791"/>
                  </a:moveTo>
                  <a:lnTo>
                    <a:pt x="3206568" y="961791"/>
                  </a:lnTo>
                  <a:lnTo>
                    <a:pt x="3206568" y="4205164"/>
                  </a:lnTo>
                  <a:lnTo>
                    <a:pt x="2714986" y="4205164"/>
                  </a:lnTo>
                  <a:close/>
                  <a:moveTo>
                    <a:pt x="2372418" y="0"/>
                  </a:moveTo>
                  <a:lnTo>
                    <a:pt x="2575463" y="539671"/>
                  </a:lnTo>
                  <a:lnTo>
                    <a:pt x="2409821" y="528985"/>
                  </a:lnTo>
                  <a:cubicBezTo>
                    <a:pt x="2315423" y="1157711"/>
                    <a:pt x="2247742" y="1898645"/>
                    <a:pt x="1822060" y="2511342"/>
                  </a:cubicBezTo>
                  <a:cubicBezTo>
                    <a:pt x="1549553" y="2801660"/>
                    <a:pt x="1266359" y="3273651"/>
                    <a:pt x="10687" y="3606715"/>
                  </a:cubicBezTo>
                  <a:lnTo>
                    <a:pt x="0" y="3328864"/>
                  </a:lnTo>
                  <a:cubicBezTo>
                    <a:pt x="1038378" y="3011830"/>
                    <a:pt x="1371444" y="2652048"/>
                    <a:pt x="1624359" y="2313641"/>
                  </a:cubicBezTo>
                  <a:cubicBezTo>
                    <a:pt x="1905772" y="1884398"/>
                    <a:pt x="1973453" y="1380347"/>
                    <a:pt x="2131971" y="464865"/>
                  </a:cubicBezTo>
                  <a:lnTo>
                    <a:pt x="1971672" y="432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a:solidFill>
                  <a:srgbClr val="FFFFFF"/>
                </a:solidFill>
              </a:endParaRPr>
            </a:p>
          </p:txBody>
        </p:sp>
      </p:grpSp>
      <p:grpSp>
        <p:nvGrpSpPr>
          <p:cNvPr id="67" name="Group 66"/>
          <p:cNvGrpSpPr/>
          <p:nvPr/>
        </p:nvGrpSpPr>
        <p:grpSpPr>
          <a:xfrm>
            <a:off x="5321634" y="4320564"/>
            <a:ext cx="2043191" cy="2059168"/>
            <a:chOff x="5428343" y="4406703"/>
            <a:chExt cx="2084161" cy="2100459"/>
          </a:xfrm>
        </p:grpSpPr>
        <p:sp>
          <p:nvSpPr>
            <p:cNvPr id="68" name="Rectangle 67"/>
            <p:cNvSpPr/>
            <p:nvPr/>
          </p:nvSpPr>
          <p:spPr bwMode="auto">
            <a:xfrm>
              <a:off x="5428343"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69" name="Rectangle 68"/>
            <p:cNvSpPr/>
            <p:nvPr/>
          </p:nvSpPr>
          <p:spPr bwMode="auto">
            <a:xfrm>
              <a:off x="5428343" y="4406703"/>
              <a:ext cx="2084161" cy="685800"/>
            </a:xfrm>
            <a:prstGeom prst="rect">
              <a:avLst/>
            </a:prstGeom>
            <a:solidFill>
              <a:schemeClr val="accent1"/>
            </a:solidFill>
            <a:ln w="31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Datacenter without</a:t>
              </a:r>
              <a:endParaRPr lang="en-US" sz="1568" dirty="0">
                <a:solidFill>
                  <a:srgbClr val="FFFFFF"/>
                </a:solidFill>
              </a:endParaRPr>
            </a:p>
            <a:p>
              <a:pPr algn="ctr" defTabSz="914225"/>
              <a:r>
                <a:rPr lang="en-US" sz="1568" dirty="0">
                  <a:solidFill>
                    <a:srgbClr val="FFFFFF"/>
                  </a:solidFill>
                </a:rPr>
                <a:t>boundaries</a:t>
              </a:r>
            </a:p>
          </p:txBody>
        </p:sp>
        <p:sp>
          <p:nvSpPr>
            <p:cNvPr id="70" name="Freeform 69"/>
            <p:cNvSpPr/>
            <p:nvPr/>
          </p:nvSpPr>
          <p:spPr>
            <a:xfrm>
              <a:off x="5888743" y="5369075"/>
              <a:ext cx="1163361" cy="92513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endParaRPr lang="en-US" sz="1765" dirty="0" err="1">
                <a:solidFill>
                  <a:srgbClr val="000000"/>
                </a:solidFill>
              </a:endParaRPr>
            </a:p>
          </p:txBody>
        </p:sp>
      </p:grpSp>
      <p:grpSp>
        <p:nvGrpSpPr>
          <p:cNvPr id="71" name="Group 70"/>
          <p:cNvGrpSpPr/>
          <p:nvPr/>
        </p:nvGrpSpPr>
        <p:grpSpPr>
          <a:xfrm>
            <a:off x="7451199" y="4320564"/>
            <a:ext cx="2043191" cy="2059168"/>
            <a:chOff x="7600610" y="4406703"/>
            <a:chExt cx="2084161" cy="2100459"/>
          </a:xfrm>
        </p:grpSpPr>
        <p:sp>
          <p:nvSpPr>
            <p:cNvPr id="72" name="Rectangle 71"/>
            <p:cNvSpPr/>
            <p:nvPr/>
          </p:nvSpPr>
          <p:spPr bwMode="auto">
            <a:xfrm>
              <a:off x="7600610"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88" name="Rectangle 87"/>
            <p:cNvSpPr/>
            <p:nvPr/>
          </p:nvSpPr>
          <p:spPr bwMode="auto">
            <a:xfrm>
              <a:off x="7600610" y="4406703"/>
              <a:ext cx="2084161" cy="685800"/>
            </a:xfrm>
            <a:prstGeom prst="rect">
              <a:avLst/>
            </a:prstGeom>
            <a:solidFill>
              <a:schemeClr val="accent2"/>
            </a:solidFill>
            <a:ln w="3175">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Cloud innovation</a:t>
              </a:r>
              <a:endParaRPr lang="en-US" sz="1568" dirty="0">
                <a:solidFill>
                  <a:srgbClr val="FFFFFF"/>
                </a:solidFill>
              </a:endParaRPr>
            </a:p>
            <a:p>
              <a:pPr algn="ctr" defTabSz="914225"/>
              <a:r>
                <a:rPr lang="en-US" sz="1568" dirty="0">
                  <a:solidFill>
                    <a:srgbClr val="FFFFFF"/>
                  </a:solidFill>
                </a:rPr>
                <a:t>everywhere</a:t>
              </a:r>
            </a:p>
          </p:txBody>
        </p:sp>
        <p:grpSp>
          <p:nvGrpSpPr>
            <p:cNvPr id="89" name="Group 88"/>
            <p:cNvGrpSpPr/>
            <p:nvPr/>
          </p:nvGrpSpPr>
          <p:grpSpPr>
            <a:xfrm>
              <a:off x="7992616" y="5381776"/>
              <a:ext cx="1300149" cy="870714"/>
              <a:chOff x="7992616" y="5381776"/>
              <a:chExt cx="1300149" cy="870714"/>
            </a:xfrm>
          </p:grpSpPr>
          <p:sp>
            <p:nvSpPr>
              <p:cNvPr id="90" name="Freeform 5"/>
              <p:cNvSpPr>
                <a:spLocks/>
              </p:cNvSpPr>
              <p:nvPr/>
            </p:nvSpPr>
            <p:spPr bwMode="auto">
              <a:xfrm>
                <a:off x="7992616" y="5381776"/>
                <a:ext cx="1300149" cy="870714"/>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solidFill>
                <a:schemeClr val="bg1">
                  <a:lumMod val="50000"/>
                </a:schemeClr>
              </a:solidFill>
              <a:ln>
                <a:noFill/>
              </a:ln>
            </p:spPr>
            <p:txBody>
              <a:bodyPr vert="horz" wrap="square" lIns="89630" tIns="44814" rIns="89630" bIns="44814" numCol="1" anchor="t" anchorCtr="0" compatLnSpc="1">
                <a:prstTxWarp prst="textNoShape">
                  <a:avLst/>
                </a:prstTxWarp>
              </a:bodyPr>
              <a:lstStyle/>
              <a:p>
                <a:pPr defTabSz="914225"/>
                <a:endParaRPr lang="en-US" sz="1765" dirty="0">
                  <a:solidFill>
                    <a:srgbClr val="000000"/>
                  </a:solidFill>
                </a:endParaRPr>
              </a:p>
            </p:txBody>
          </p:sp>
          <p:grpSp>
            <p:nvGrpSpPr>
              <p:cNvPr id="91" name="Group 90"/>
              <p:cNvGrpSpPr/>
              <p:nvPr/>
            </p:nvGrpSpPr>
            <p:grpSpPr bwMode="black">
              <a:xfrm>
                <a:off x="8531836" y="5607203"/>
                <a:ext cx="221708" cy="541780"/>
                <a:chOff x="3233738" y="168276"/>
                <a:chExt cx="2651125" cy="6480174"/>
              </a:xfrm>
            </p:grpSpPr>
            <p:sp>
              <p:nvSpPr>
                <p:cNvPr id="92"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sp>
              <p:nvSpPr>
                <p:cNvPr id="93"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sp>
              <p:nvSpPr>
                <p:cNvPr id="98"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grpSp>
        </p:grpSp>
      </p:grpSp>
      <p:grpSp>
        <p:nvGrpSpPr>
          <p:cNvPr id="99" name="Group 98"/>
          <p:cNvGrpSpPr/>
          <p:nvPr/>
        </p:nvGrpSpPr>
        <p:grpSpPr>
          <a:xfrm>
            <a:off x="9580765" y="4320564"/>
            <a:ext cx="2043191" cy="2059168"/>
            <a:chOff x="9772878" y="4406703"/>
            <a:chExt cx="2084161" cy="2100459"/>
          </a:xfrm>
        </p:grpSpPr>
        <p:sp>
          <p:nvSpPr>
            <p:cNvPr id="100" name="Rectangle 99"/>
            <p:cNvSpPr/>
            <p:nvPr/>
          </p:nvSpPr>
          <p:spPr bwMode="auto">
            <a:xfrm>
              <a:off x="9772878" y="5092503"/>
              <a:ext cx="2084161" cy="141465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endParaRPr lang="en-US" sz="1765" dirty="0">
                <a:solidFill>
                  <a:srgbClr val="FFFFFF"/>
                </a:solidFill>
                <a:latin typeface="Segoe UI Semibold" panose="020B0702040204020203" pitchFamily="34" charset="0"/>
              </a:endParaRPr>
            </a:p>
          </p:txBody>
        </p:sp>
        <p:sp>
          <p:nvSpPr>
            <p:cNvPr id="101" name="Rectangle 100"/>
            <p:cNvSpPr/>
            <p:nvPr/>
          </p:nvSpPr>
          <p:spPr bwMode="auto">
            <a:xfrm>
              <a:off x="9772878" y="4406703"/>
              <a:ext cx="2084161" cy="685800"/>
            </a:xfrm>
            <a:prstGeom prst="rect">
              <a:avLst/>
            </a:prstGeom>
            <a:solidFill>
              <a:schemeClr val="accent3"/>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225"/>
              <a:r>
                <a:rPr lang="en-US" sz="1568" dirty="0">
                  <a:solidFill>
                    <a:srgbClr val="FFFFFF"/>
                  </a:solidFill>
                </a:rPr>
                <a:t>Dynamic application</a:t>
              </a:r>
              <a:endParaRPr lang="en-US" sz="1568" dirty="0">
                <a:solidFill>
                  <a:srgbClr val="FFFFFF"/>
                </a:solidFill>
              </a:endParaRPr>
            </a:p>
            <a:p>
              <a:pPr algn="ctr" defTabSz="914225"/>
              <a:r>
                <a:rPr lang="en-US" sz="1568" dirty="0">
                  <a:solidFill>
                    <a:srgbClr val="FFFFFF"/>
                  </a:solidFill>
                </a:rPr>
                <a:t>delivery</a:t>
              </a:r>
            </a:p>
          </p:txBody>
        </p:sp>
        <p:grpSp>
          <p:nvGrpSpPr>
            <p:cNvPr id="102" name="Group 101"/>
            <p:cNvGrpSpPr/>
            <p:nvPr/>
          </p:nvGrpSpPr>
          <p:grpSpPr>
            <a:xfrm>
              <a:off x="10347670" y="5406974"/>
              <a:ext cx="934576" cy="849332"/>
              <a:chOff x="6795243" y="1533104"/>
              <a:chExt cx="1199134" cy="1089759"/>
            </a:xfrm>
            <a:solidFill>
              <a:schemeClr val="bg1">
                <a:lumMod val="50000"/>
              </a:schemeClr>
            </a:solidFill>
          </p:grpSpPr>
          <p:grpSp>
            <p:nvGrpSpPr>
              <p:cNvPr id="103" name="Group 102"/>
              <p:cNvGrpSpPr/>
              <p:nvPr/>
            </p:nvGrpSpPr>
            <p:grpSpPr>
              <a:xfrm>
                <a:off x="6795243" y="1533104"/>
                <a:ext cx="1199134" cy="1089759"/>
                <a:chOff x="6759019" y="2673261"/>
                <a:chExt cx="2978870" cy="2707164"/>
              </a:xfrm>
              <a:grpFill/>
            </p:grpSpPr>
            <p:sp>
              <p:nvSpPr>
                <p:cNvPr id="107" name="Round Same Side Corner Rectangle 24"/>
                <p:cNvSpPr/>
                <p:nvPr/>
              </p:nvSpPr>
              <p:spPr bwMode="auto">
                <a:xfrm>
                  <a:off x="6759019" y="2673261"/>
                  <a:ext cx="2978870" cy="367475"/>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3921" dirty="0">
                    <a:solidFill>
                      <a:srgbClr val="008272"/>
                    </a:solidFill>
                    <a:latin typeface="Segoe UI Light" pitchFamily="34" charset="0"/>
                  </a:endParaRPr>
                </a:p>
              </p:txBody>
            </p:sp>
            <p:sp>
              <p:nvSpPr>
                <p:cNvPr id="108" name="Rounded Rectangle 8"/>
                <p:cNvSpPr/>
                <p:nvPr/>
              </p:nvSpPr>
              <p:spPr bwMode="auto">
                <a:xfrm>
                  <a:off x="6759019" y="2995443"/>
                  <a:ext cx="2978870" cy="2384982"/>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gr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a:endParaRPr lang="en-US" sz="3921" dirty="0">
                    <a:solidFill>
                      <a:srgbClr val="008272"/>
                    </a:solidFill>
                    <a:latin typeface="Segoe UI Light" pitchFamily="34" charset="0"/>
                  </a:endParaRPr>
                </a:p>
              </p:txBody>
            </p:sp>
          </p:grpSp>
          <p:sp>
            <p:nvSpPr>
              <p:cNvPr id="104" name="Freeform 86"/>
              <p:cNvSpPr>
                <a:spLocks noEditPoints="1"/>
              </p:cNvSpPr>
              <p:nvPr/>
            </p:nvSpPr>
            <p:spPr bwMode="black">
              <a:xfrm rot="16200000">
                <a:off x="7282225" y="1975375"/>
                <a:ext cx="526613" cy="529527"/>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sp>
            <p:nvSpPr>
              <p:cNvPr id="105" name="Oval 87"/>
              <p:cNvSpPr>
                <a:spLocks noChangeArrowheads="1"/>
              </p:cNvSpPr>
              <p:nvPr/>
            </p:nvSpPr>
            <p:spPr bwMode="black">
              <a:xfrm rot="16200000">
                <a:off x="7505842" y="2191306"/>
                <a:ext cx="97691" cy="976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sp>
            <p:nvSpPr>
              <p:cNvPr id="106" name="Freeform 88"/>
              <p:cNvSpPr>
                <a:spLocks noEditPoints="1"/>
              </p:cNvSpPr>
              <p:nvPr/>
            </p:nvSpPr>
            <p:spPr bwMode="black">
              <a:xfrm rot="16200000">
                <a:off x="7037860" y="1853593"/>
                <a:ext cx="267123" cy="28765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grpSp>
      </p:grpSp>
      <p:sp>
        <p:nvSpPr>
          <p:cNvPr id="5" name="Footer Placeholder 4"/>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6" name="Slide Number Placeholder 5"/>
          <p:cNvSpPr>
            <a:spLocks noGrp="1"/>
          </p:cNvSpPr>
          <p:nvPr>
            <p:ph type="sldNum" sz="quarter" idx="11"/>
          </p:nvPr>
        </p:nvSpPr>
        <p:spPr/>
        <p:txBody>
          <a:bodyPr/>
          <a:lstStyle/>
          <a:p>
            <a:fld id="{27258FFF-F925-446B-8502-81C933981705}" type="slidenum">
              <a:rPr>
                <a:solidFill>
                  <a:srgbClr val="505050"/>
                </a:solidFill>
              </a:rPr>
              <a:pPr/>
              <a:t>2</a:t>
            </a:fld>
            <a:endParaRPr>
              <a:solidFill>
                <a:srgbClr val="505050"/>
              </a:solidFill>
            </a:endParaRPr>
          </a:p>
        </p:txBody>
      </p:sp>
    </p:spTree>
    <p:extLst>
      <p:ext uri="{BB962C8B-B14F-4D97-AF65-F5344CB8AC3E}">
        <p14:creationId xmlns:p14="http://schemas.microsoft.com/office/powerpoint/2010/main" val="729993132"/>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15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smtClean="0"/>
              <a:t>Microsoft Azure Infrastructure as a Service (</a:t>
            </a:r>
            <a:r>
              <a:rPr lang="en-US" dirty="0" err="1" smtClean="0"/>
              <a:t>IaaS</a:t>
            </a:r>
            <a:r>
              <a:rPr lang="en-US" dirty="0" smtClean="0"/>
              <a:t>)</a:t>
            </a:r>
            <a:endParaRPr lang="en-US" dirty="0"/>
          </a:p>
        </p:txBody>
      </p:sp>
      <p:sp>
        <p:nvSpPr>
          <p:cNvPr id="126" name="TextBox 125"/>
          <p:cNvSpPr txBox="1"/>
          <p:nvPr/>
        </p:nvSpPr>
        <p:spPr>
          <a:xfrm>
            <a:off x="2908478" y="2218141"/>
            <a:ext cx="2077029" cy="294987"/>
          </a:xfrm>
          <a:prstGeom prst="rect">
            <a:avLst/>
          </a:prstGeom>
          <a:noFill/>
        </p:spPr>
        <p:txBody>
          <a:bodyPr wrap="square" lIns="0" tIns="0" rIns="0" bIns="0" rtlCol="0" anchor="ctr">
            <a:noAutofit/>
          </a:bodyPr>
          <a:lstStyle/>
          <a:p>
            <a:pPr algn="ctr" defTabSz="913844"/>
            <a:r>
              <a:rPr lang="en-US" sz="1765" spc="-69" dirty="0">
                <a:solidFill>
                  <a:srgbClr val="505050"/>
                </a:solidFill>
              </a:rPr>
              <a:t>Customer managed</a:t>
            </a:r>
          </a:p>
        </p:txBody>
      </p:sp>
      <p:sp>
        <p:nvSpPr>
          <p:cNvPr id="127" name="Freeform 128"/>
          <p:cNvSpPr>
            <a:spLocks noChangeAspect="1"/>
          </p:cNvSpPr>
          <p:nvPr/>
        </p:nvSpPr>
        <p:spPr bwMode="black">
          <a:xfrm>
            <a:off x="6071950" y="1341102"/>
            <a:ext cx="5545316" cy="3475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6"/>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21" rIns="44821" bIns="89642" numCol="1" spcCol="0" rtlCol="0" fromWordArt="0" anchor="b" anchorCtr="0" forceAA="0" compatLnSpc="1">
            <a:prstTxWarp prst="textNoShape">
              <a:avLst/>
            </a:prstTxWarp>
            <a:noAutofit/>
          </a:bodyPr>
          <a:lstStyle/>
          <a:p>
            <a:pPr algn="ctr" defTabSz="895663" fontAlgn="base"/>
            <a:endParaRPr lang="en-US" sz="1765"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6413942" y="3971553"/>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ervers</a:t>
            </a:r>
          </a:p>
        </p:txBody>
      </p:sp>
      <p:sp>
        <p:nvSpPr>
          <p:cNvPr id="131" name="Rectangle 130"/>
          <p:cNvSpPr/>
          <p:nvPr/>
        </p:nvSpPr>
        <p:spPr bwMode="auto">
          <a:xfrm>
            <a:off x="6413942" y="357471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Virtualization</a:t>
            </a:r>
          </a:p>
        </p:txBody>
      </p:sp>
      <p:pic>
        <p:nvPicPr>
          <p:cNvPr id="132" name="Picture 5" descr="http://aiscaler.com/wp-content/uploads/2014/07/microsoft-azure-logo.jpg"/>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7617107" y="2358630"/>
            <a:ext cx="3128004" cy="883834"/>
          </a:xfrm>
          <a:prstGeom prst="rect">
            <a:avLst/>
          </a:prstGeom>
          <a:noFill/>
          <a:extLst>
            <a:ext uri="{909E8E84-426E-40DD-AFC4-6F175D3DCCD1}">
              <a14:hiddenFill xmlns:a14="http://schemas.microsoft.com/office/drawing/2010/main">
                <a:solidFill>
                  <a:srgbClr val="FFFFFF"/>
                </a:solidFill>
              </a14:hiddenFill>
            </a:ext>
          </a:extLst>
        </p:spPr>
      </p:pic>
      <p:sp>
        <p:nvSpPr>
          <p:cNvPr id="133" name="Rectangle 132"/>
          <p:cNvSpPr/>
          <p:nvPr/>
        </p:nvSpPr>
        <p:spPr bwMode="auto">
          <a:xfrm flipH="1">
            <a:off x="572683" y="1341102"/>
            <a:ext cx="1874440" cy="49122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6"/>
          <p:cNvSpPr>
            <a:spLocks noChangeArrowheads="1"/>
          </p:cNvSpPr>
          <p:nvPr/>
        </p:nvSpPr>
        <p:spPr bwMode="auto">
          <a:xfrm flipH="1">
            <a:off x="2587686" y="3362260"/>
            <a:ext cx="1690656" cy="3012000"/>
          </a:xfrm>
          <a:prstGeom prst="rect">
            <a:avLst/>
          </a:prstGeom>
          <a:solidFill>
            <a:schemeClr val="accent3">
              <a:lumMod val="40000"/>
              <a:lumOff val="6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5" name="Rectangle 12"/>
          <p:cNvSpPr>
            <a:spLocks noChangeArrowheads="1"/>
          </p:cNvSpPr>
          <p:nvPr/>
        </p:nvSpPr>
        <p:spPr bwMode="auto">
          <a:xfrm flipH="1">
            <a:off x="656529" y="4254921"/>
            <a:ext cx="1703642" cy="2119338"/>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6" name="Rectangle 13"/>
          <p:cNvSpPr>
            <a:spLocks noChangeArrowheads="1"/>
          </p:cNvSpPr>
          <p:nvPr/>
        </p:nvSpPr>
        <p:spPr bwMode="auto">
          <a:xfrm flipH="1">
            <a:off x="572858" y="4190839"/>
            <a:ext cx="1875633" cy="65078"/>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7" name="Rectangle 14"/>
          <p:cNvSpPr>
            <a:spLocks noChangeArrowheads="1"/>
          </p:cNvSpPr>
          <p:nvPr/>
        </p:nvSpPr>
        <p:spPr bwMode="auto">
          <a:xfrm flipH="1">
            <a:off x="1200394" y="5941958"/>
            <a:ext cx="223124" cy="43230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8" name="Rectangle 15"/>
          <p:cNvSpPr>
            <a:spLocks noChangeArrowheads="1"/>
          </p:cNvSpPr>
          <p:nvPr/>
        </p:nvSpPr>
        <p:spPr bwMode="auto">
          <a:xfrm flipH="1">
            <a:off x="1588535" y="5941958"/>
            <a:ext cx="223124" cy="43230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9" name="Rectangle 16"/>
          <p:cNvSpPr>
            <a:spLocks noChangeArrowheads="1"/>
          </p:cNvSpPr>
          <p:nvPr/>
        </p:nvSpPr>
        <p:spPr bwMode="auto">
          <a:xfrm flipH="1">
            <a:off x="814575" y="4438199"/>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0" name="Rectangle 17"/>
          <p:cNvSpPr>
            <a:spLocks noChangeArrowheads="1"/>
          </p:cNvSpPr>
          <p:nvPr/>
        </p:nvSpPr>
        <p:spPr bwMode="auto">
          <a:xfrm flipH="1">
            <a:off x="814575" y="4817044"/>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1" name="Rectangle 18"/>
          <p:cNvSpPr>
            <a:spLocks noChangeArrowheads="1"/>
          </p:cNvSpPr>
          <p:nvPr/>
        </p:nvSpPr>
        <p:spPr bwMode="auto">
          <a:xfrm flipH="1">
            <a:off x="814575" y="5202861"/>
            <a:ext cx="1378253" cy="218475"/>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2" name="Rectangle 19"/>
          <p:cNvSpPr>
            <a:spLocks noChangeArrowheads="1"/>
          </p:cNvSpPr>
          <p:nvPr/>
        </p:nvSpPr>
        <p:spPr bwMode="auto">
          <a:xfrm flipH="1">
            <a:off x="814575" y="5584030"/>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3" name="Rectangle 22"/>
          <p:cNvSpPr>
            <a:spLocks noChangeArrowheads="1"/>
          </p:cNvSpPr>
          <p:nvPr/>
        </p:nvSpPr>
        <p:spPr bwMode="auto">
          <a:xfrm flipH="1">
            <a:off x="935435" y="3925879"/>
            <a:ext cx="204530" cy="264959"/>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4" name="Rectangle 23"/>
          <p:cNvSpPr>
            <a:spLocks noChangeArrowheads="1"/>
          </p:cNvSpPr>
          <p:nvPr/>
        </p:nvSpPr>
        <p:spPr bwMode="auto">
          <a:xfrm flipH="1">
            <a:off x="1209691" y="3925879"/>
            <a:ext cx="204530" cy="264959"/>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5" name="Isosceles Triangle 144"/>
          <p:cNvSpPr/>
          <p:nvPr/>
        </p:nvSpPr>
        <p:spPr bwMode="auto">
          <a:xfrm rot="10800000">
            <a:off x="1901821" y="1341102"/>
            <a:ext cx="545301" cy="470087"/>
          </a:xfrm>
          <a:prstGeom prst="triangle">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6"/>
          <p:cNvSpPr>
            <a:spLocks noChangeArrowheads="1"/>
          </p:cNvSpPr>
          <p:nvPr/>
        </p:nvSpPr>
        <p:spPr bwMode="auto">
          <a:xfrm flipH="1">
            <a:off x="814575" y="2760595"/>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7" name="Rectangle 17"/>
          <p:cNvSpPr>
            <a:spLocks noChangeArrowheads="1"/>
          </p:cNvSpPr>
          <p:nvPr/>
        </p:nvSpPr>
        <p:spPr bwMode="auto">
          <a:xfrm flipH="1">
            <a:off x="814575" y="3139135"/>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8" name="Rectangle 18"/>
          <p:cNvSpPr>
            <a:spLocks noChangeArrowheads="1"/>
          </p:cNvSpPr>
          <p:nvPr/>
        </p:nvSpPr>
        <p:spPr bwMode="auto">
          <a:xfrm flipH="1">
            <a:off x="814575" y="3517676"/>
            <a:ext cx="1378253" cy="2184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9" name="Rectangle 16"/>
          <p:cNvSpPr>
            <a:spLocks noChangeArrowheads="1"/>
          </p:cNvSpPr>
          <p:nvPr/>
        </p:nvSpPr>
        <p:spPr bwMode="auto">
          <a:xfrm flipH="1">
            <a:off x="814575" y="2382054"/>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0" name="Rectangle 149"/>
          <p:cNvSpPr/>
          <p:nvPr/>
        </p:nvSpPr>
        <p:spPr bwMode="auto">
          <a:xfrm>
            <a:off x="647231" y="2124724"/>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Data</a:t>
            </a:r>
          </a:p>
        </p:txBody>
      </p:sp>
      <p:sp>
        <p:nvSpPr>
          <p:cNvPr id="151" name="Rectangle 150"/>
          <p:cNvSpPr/>
          <p:nvPr/>
        </p:nvSpPr>
        <p:spPr bwMode="auto">
          <a:xfrm>
            <a:off x="647231" y="1765394"/>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Applications</a:t>
            </a:r>
          </a:p>
        </p:txBody>
      </p:sp>
      <p:sp>
        <p:nvSpPr>
          <p:cNvPr id="152" name="Rectangle 151"/>
          <p:cNvSpPr/>
          <p:nvPr/>
        </p:nvSpPr>
        <p:spPr bwMode="auto">
          <a:xfrm>
            <a:off x="657427" y="1470778"/>
            <a:ext cx="598502" cy="869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3" name="Rectangle 152"/>
          <p:cNvSpPr/>
          <p:nvPr/>
        </p:nvSpPr>
        <p:spPr bwMode="auto">
          <a:xfrm>
            <a:off x="657427" y="1617364"/>
            <a:ext cx="598502" cy="869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54" name="Elbow Connector 153"/>
          <p:cNvCxnSpPr/>
          <p:nvPr/>
        </p:nvCxnSpPr>
        <p:spPr>
          <a:xfrm rot="10800000" flipV="1">
            <a:off x="4278343" y="2689761"/>
            <a:ext cx="2713774" cy="1551699"/>
          </a:xfrm>
          <a:prstGeom prst="bentConnector3">
            <a:avLst>
              <a:gd name="adj1" fmla="val 50000"/>
            </a:avLst>
          </a:prstGeom>
          <a:ln w="19050">
            <a:solidFill>
              <a:schemeClr val="bg1">
                <a:lumMod val="5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55" name="Rectangle 14"/>
          <p:cNvSpPr>
            <a:spLocks noChangeArrowheads="1"/>
          </p:cNvSpPr>
          <p:nvPr/>
        </p:nvSpPr>
        <p:spPr bwMode="auto">
          <a:xfrm flipH="1">
            <a:off x="3127382" y="5941958"/>
            <a:ext cx="223124" cy="432301"/>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6" name="Rectangle 15"/>
          <p:cNvSpPr>
            <a:spLocks noChangeArrowheads="1"/>
          </p:cNvSpPr>
          <p:nvPr/>
        </p:nvSpPr>
        <p:spPr bwMode="auto">
          <a:xfrm flipH="1">
            <a:off x="3515523" y="5941958"/>
            <a:ext cx="223124" cy="432301"/>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7" name="Rectangle 19"/>
          <p:cNvSpPr>
            <a:spLocks noChangeArrowheads="1"/>
          </p:cNvSpPr>
          <p:nvPr/>
        </p:nvSpPr>
        <p:spPr bwMode="auto">
          <a:xfrm flipH="1">
            <a:off x="2743888" y="5584030"/>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8" name="Rectangle 19"/>
          <p:cNvSpPr>
            <a:spLocks noChangeArrowheads="1"/>
          </p:cNvSpPr>
          <p:nvPr/>
        </p:nvSpPr>
        <p:spPr bwMode="auto">
          <a:xfrm flipH="1">
            <a:off x="2743888" y="5192606"/>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9" name="Rectangle 19"/>
          <p:cNvSpPr>
            <a:spLocks noChangeArrowheads="1"/>
          </p:cNvSpPr>
          <p:nvPr/>
        </p:nvSpPr>
        <p:spPr bwMode="auto">
          <a:xfrm flipH="1">
            <a:off x="2743888" y="4801183"/>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0" name="Rectangle 19"/>
          <p:cNvSpPr>
            <a:spLocks noChangeArrowheads="1"/>
          </p:cNvSpPr>
          <p:nvPr/>
        </p:nvSpPr>
        <p:spPr bwMode="auto">
          <a:xfrm flipH="1">
            <a:off x="2743888" y="4409760"/>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1" name="Rectangle 13"/>
          <p:cNvSpPr>
            <a:spLocks noChangeArrowheads="1"/>
          </p:cNvSpPr>
          <p:nvPr/>
        </p:nvSpPr>
        <p:spPr bwMode="auto">
          <a:xfrm flipH="1">
            <a:off x="2502313" y="3313169"/>
            <a:ext cx="1875633" cy="65078"/>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9" name="Rectangle 168"/>
          <p:cNvSpPr/>
          <p:nvPr/>
        </p:nvSpPr>
        <p:spPr bwMode="auto">
          <a:xfrm>
            <a:off x="8026733" y="3971553"/>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Networking</a:t>
            </a:r>
          </a:p>
        </p:txBody>
      </p:sp>
      <p:sp>
        <p:nvSpPr>
          <p:cNvPr id="170" name="Rectangle 169"/>
          <p:cNvSpPr/>
          <p:nvPr/>
        </p:nvSpPr>
        <p:spPr bwMode="auto">
          <a:xfrm>
            <a:off x="8026733" y="357471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torage</a:t>
            </a:r>
          </a:p>
        </p:txBody>
      </p:sp>
      <p:cxnSp>
        <p:nvCxnSpPr>
          <p:cNvPr id="172" name="Straight Connector 171"/>
          <p:cNvCxnSpPr/>
          <p:nvPr/>
        </p:nvCxnSpPr>
        <p:spPr>
          <a:xfrm>
            <a:off x="2447122" y="1576146"/>
            <a:ext cx="220824"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2447122" y="3150445"/>
            <a:ext cx="220824"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flipH="1">
            <a:off x="2664230" y="1576146"/>
            <a:ext cx="0" cy="1578978"/>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2667946" y="2365635"/>
            <a:ext cx="268927" cy="0"/>
          </a:xfrm>
          <a:prstGeom prst="line">
            <a:avLst/>
          </a:prstGeom>
          <a:ln w="19050">
            <a:solidFill>
              <a:schemeClr val="bg1">
                <a:lumMod val="50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176" name="Rectangle 175"/>
          <p:cNvSpPr/>
          <p:nvPr/>
        </p:nvSpPr>
        <p:spPr bwMode="auto">
          <a:xfrm>
            <a:off x="647231" y="2843382"/>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Middleware</a:t>
            </a:r>
          </a:p>
        </p:txBody>
      </p:sp>
      <p:sp>
        <p:nvSpPr>
          <p:cNvPr id="177" name="Rectangle 176"/>
          <p:cNvSpPr/>
          <p:nvPr/>
        </p:nvSpPr>
        <p:spPr bwMode="auto">
          <a:xfrm>
            <a:off x="647231" y="2484053"/>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Runtime</a:t>
            </a:r>
          </a:p>
        </p:txBody>
      </p:sp>
      <p:sp>
        <p:nvSpPr>
          <p:cNvPr id="55" name="Rectangle 19"/>
          <p:cNvSpPr>
            <a:spLocks noChangeArrowheads="1"/>
          </p:cNvSpPr>
          <p:nvPr/>
        </p:nvSpPr>
        <p:spPr bwMode="auto">
          <a:xfrm flipH="1">
            <a:off x="2743888" y="4018337"/>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56" name="Rectangle 19"/>
          <p:cNvSpPr>
            <a:spLocks noChangeArrowheads="1"/>
          </p:cNvSpPr>
          <p:nvPr/>
        </p:nvSpPr>
        <p:spPr bwMode="auto">
          <a:xfrm flipH="1">
            <a:off x="2743888" y="3626913"/>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62" name="Rectangle 61"/>
          <p:cNvSpPr/>
          <p:nvPr/>
        </p:nvSpPr>
        <p:spPr bwMode="auto">
          <a:xfrm>
            <a:off x="2667945" y="3498110"/>
            <a:ext cx="1530136" cy="323946"/>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Virtualization</a:t>
            </a:r>
          </a:p>
        </p:txBody>
      </p:sp>
      <p:sp>
        <p:nvSpPr>
          <p:cNvPr id="63" name="Rectangle 62"/>
          <p:cNvSpPr/>
          <p:nvPr/>
        </p:nvSpPr>
        <p:spPr bwMode="auto">
          <a:xfrm>
            <a:off x="2667945" y="4653407"/>
            <a:ext cx="1530136" cy="323946"/>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Networking</a:t>
            </a:r>
          </a:p>
        </p:txBody>
      </p:sp>
      <p:sp>
        <p:nvSpPr>
          <p:cNvPr id="64" name="Rectangle 63"/>
          <p:cNvSpPr/>
          <p:nvPr/>
        </p:nvSpPr>
        <p:spPr bwMode="auto">
          <a:xfrm>
            <a:off x="2667945" y="4268308"/>
            <a:ext cx="1530136" cy="323946"/>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torage</a:t>
            </a:r>
          </a:p>
        </p:txBody>
      </p:sp>
      <p:sp>
        <p:nvSpPr>
          <p:cNvPr id="65" name="Rectangle 64"/>
          <p:cNvSpPr/>
          <p:nvPr/>
        </p:nvSpPr>
        <p:spPr bwMode="auto">
          <a:xfrm>
            <a:off x="2667945" y="3883209"/>
            <a:ext cx="1530136" cy="323946"/>
          </a:xfrm>
          <a:prstGeom prst="rect">
            <a:avLst/>
          </a:prstGeom>
          <a:solidFill>
            <a:schemeClr val="tx2">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ervers</a:t>
            </a:r>
          </a:p>
        </p:txBody>
      </p:sp>
      <p:sp>
        <p:nvSpPr>
          <p:cNvPr id="68" name="Rectangle 67"/>
          <p:cNvSpPr/>
          <p:nvPr/>
        </p:nvSpPr>
        <p:spPr bwMode="auto">
          <a:xfrm>
            <a:off x="647231" y="3212616"/>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O/S</a:t>
            </a:r>
          </a:p>
        </p:txBody>
      </p:sp>
      <p:sp>
        <p:nvSpPr>
          <p:cNvPr id="6" name="Footer Placeholder 5"/>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7" name="Slide Number Placeholder 6"/>
          <p:cNvSpPr>
            <a:spLocks noGrp="1"/>
          </p:cNvSpPr>
          <p:nvPr>
            <p:ph type="sldNum" sz="quarter" idx="11"/>
          </p:nvPr>
        </p:nvSpPr>
        <p:spPr/>
        <p:txBody>
          <a:bodyPr/>
          <a:lstStyle/>
          <a:p>
            <a:fld id="{27258FFF-F925-446B-8502-81C933981705}" type="slidenum">
              <a:rPr>
                <a:solidFill>
                  <a:srgbClr val="505050"/>
                </a:solidFill>
              </a:rPr>
              <a:pPr/>
              <a:t>3</a:t>
            </a:fld>
            <a:endParaRPr>
              <a:solidFill>
                <a:srgbClr val="505050"/>
              </a:solidFill>
            </a:endParaRPr>
          </a:p>
        </p:txBody>
      </p:sp>
    </p:spTree>
    <p:extLst>
      <p:ext uri="{BB962C8B-B14F-4D97-AF65-F5344CB8AC3E}">
        <p14:creationId xmlns:p14="http://schemas.microsoft.com/office/powerpoint/2010/main" val="16184039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25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pt-BR" dirty="0"/>
              <a:t>Microsoft Azure Platform as a Service (PaaS)</a:t>
            </a:r>
          </a:p>
        </p:txBody>
      </p:sp>
      <p:sp>
        <p:nvSpPr>
          <p:cNvPr id="24" name="TextBox 23"/>
          <p:cNvSpPr txBox="1"/>
          <p:nvPr/>
        </p:nvSpPr>
        <p:spPr>
          <a:xfrm>
            <a:off x="2908478" y="2218141"/>
            <a:ext cx="2077029" cy="294987"/>
          </a:xfrm>
          <a:prstGeom prst="rect">
            <a:avLst/>
          </a:prstGeom>
          <a:noFill/>
        </p:spPr>
        <p:txBody>
          <a:bodyPr wrap="square" lIns="0" tIns="0" rIns="0" bIns="0" rtlCol="0" anchor="ctr">
            <a:noAutofit/>
          </a:bodyPr>
          <a:lstStyle/>
          <a:p>
            <a:pPr algn="ctr" defTabSz="913844"/>
            <a:r>
              <a:rPr lang="en-US" sz="1765" spc="-69" dirty="0">
                <a:solidFill>
                  <a:srgbClr val="505050"/>
                </a:solidFill>
              </a:rPr>
              <a:t>Customer managed</a:t>
            </a:r>
          </a:p>
        </p:txBody>
      </p:sp>
      <p:sp>
        <p:nvSpPr>
          <p:cNvPr id="66" name="Freeform 128"/>
          <p:cNvSpPr>
            <a:spLocks noChangeAspect="1"/>
          </p:cNvSpPr>
          <p:nvPr/>
        </p:nvSpPr>
        <p:spPr bwMode="black">
          <a:xfrm>
            <a:off x="6071950" y="1341102"/>
            <a:ext cx="5545316" cy="347594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6"/>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895919" fontAlgn="base">
              <a:spcBef>
                <a:spcPct val="0"/>
              </a:spcBef>
              <a:spcAft>
                <a:spcPct val="0"/>
              </a:spcAft>
            </a:pPr>
            <a:endParaRPr lang="en-US" sz="1961" dirty="0">
              <a:solidFill>
                <a:srgbClr val="FFFFFF"/>
              </a:solidFill>
              <a:latin typeface="Segoe UI Light"/>
            </a:endParaRPr>
          </a:p>
        </p:txBody>
      </p:sp>
      <p:sp>
        <p:nvSpPr>
          <p:cNvPr id="77" name="Rectangle 76"/>
          <p:cNvSpPr/>
          <p:nvPr/>
        </p:nvSpPr>
        <p:spPr bwMode="auto">
          <a:xfrm>
            <a:off x="9639524" y="3971553"/>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O/S</a:t>
            </a:r>
          </a:p>
        </p:txBody>
      </p:sp>
      <p:sp>
        <p:nvSpPr>
          <p:cNvPr id="78" name="Rectangle 77"/>
          <p:cNvSpPr/>
          <p:nvPr/>
        </p:nvSpPr>
        <p:spPr bwMode="auto">
          <a:xfrm>
            <a:off x="9639523" y="357471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Middleware</a:t>
            </a:r>
          </a:p>
        </p:txBody>
      </p:sp>
      <p:sp>
        <p:nvSpPr>
          <p:cNvPr id="79" name="Rectangle 78"/>
          <p:cNvSpPr/>
          <p:nvPr/>
        </p:nvSpPr>
        <p:spPr bwMode="auto">
          <a:xfrm>
            <a:off x="8026734" y="3971553"/>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Networking</a:t>
            </a:r>
          </a:p>
        </p:txBody>
      </p:sp>
      <p:sp>
        <p:nvSpPr>
          <p:cNvPr id="80" name="Rectangle 79"/>
          <p:cNvSpPr/>
          <p:nvPr/>
        </p:nvSpPr>
        <p:spPr bwMode="auto">
          <a:xfrm>
            <a:off x="8026733" y="357471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Virtualization</a:t>
            </a:r>
          </a:p>
        </p:txBody>
      </p:sp>
      <p:sp>
        <p:nvSpPr>
          <p:cNvPr id="68" name="Rectangle 67"/>
          <p:cNvSpPr/>
          <p:nvPr/>
        </p:nvSpPr>
        <p:spPr bwMode="auto">
          <a:xfrm>
            <a:off x="6413943" y="3971553"/>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torage</a:t>
            </a:r>
          </a:p>
        </p:txBody>
      </p:sp>
      <p:sp>
        <p:nvSpPr>
          <p:cNvPr id="69" name="Rectangle 68"/>
          <p:cNvSpPr/>
          <p:nvPr/>
        </p:nvSpPr>
        <p:spPr bwMode="auto">
          <a:xfrm>
            <a:off x="6413942" y="357471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ervers</a:t>
            </a:r>
          </a:p>
        </p:txBody>
      </p:sp>
      <p:sp>
        <p:nvSpPr>
          <p:cNvPr id="91" name="Rectangle 90"/>
          <p:cNvSpPr/>
          <p:nvPr/>
        </p:nvSpPr>
        <p:spPr bwMode="auto">
          <a:xfrm>
            <a:off x="8026734" y="4368385"/>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Runtime</a:t>
            </a:r>
          </a:p>
        </p:txBody>
      </p:sp>
      <p:cxnSp>
        <p:nvCxnSpPr>
          <p:cNvPr id="29" name="Straight Connector 28"/>
          <p:cNvCxnSpPr/>
          <p:nvPr/>
        </p:nvCxnSpPr>
        <p:spPr>
          <a:xfrm>
            <a:off x="2447122" y="1576146"/>
            <a:ext cx="220824"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2447122" y="3150445"/>
            <a:ext cx="220824" cy="0"/>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2664230" y="1576146"/>
            <a:ext cx="0" cy="1578978"/>
          </a:xfrm>
          <a:prstGeom prst="line">
            <a:avLst/>
          </a:prstGeom>
          <a:ln w="19050">
            <a:solidFill>
              <a:schemeClr val="bg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2667946" y="2365635"/>
            <a:ext cx="268927" cy="0"/>
          </a:xfrm>
          <a:prstGeom prst="line">
            <a:avLst/>
          </a:prstGeom>
          <a:ln w="19050">
            <a:solidFill>
              <a:schemeClr val="bg1">
                <a:lumMod val="50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pic>
        <p:nvPicPr>
          <p:cNvPr id="55" name="Picture 5" descr="http://aiscaler.com/wp-content/uploads/2014/07/microsoft-azure-logo.jpg"/>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7617107" y="2358630"/>
            <a:ext cx="3128004" cy="883834"/>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6"/>
          <p:cNvSpPr>
            <a:spLocks noChangeArrowheads="1"/>
          </p:cNvSpPr>
          <p:nvPr/>
        </p:nvSpPr>
        <p:spPr bwMode="auto">
          <a:xfrm flipH="1">
            <a:off x="2587686" y="3362260"/>
            <a:ext cx="1690656" cy="3012000"/>
          </a:xfrm>
          <a:prstGeom prst="rect">
            <a:avLst/>
          </a:prstGeom>
          <a:solidFill>
            <a:schemeClr val="accent3">
              <a:lumMod val="40000"/>
              <a:lumOff val="6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6" name="Rectangle 14"/>
          <p:cNvSpPr>
            <a:spLocks noChangeArrowheads="1"/>
          </p:cNvSpPr>
          <p:nvPr/>
        </p:nvSpPr>
        <p:spPr bwMode="auto">
          <a:xfrm flipH="1">
            <a:off x="3127382" y="5941958"/>
            <a:ext cx="223124" cy="432301"/>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7" name="Rectangle 15"/>
          <p:cNvSpPr>
            <a:spLocks noChangeArrowheads="1"/>
          </p:cNvSpPr>
          <p:nvPr/>
        </p:nvSpPr>
        <p:spPr bwMode="auto">
          <a:xfrm flipH="1">
            <a:off x="3515523" y="5941958"/>
            <a:ext cx="223124" cy="432301"/>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8" name="Rectangle 19"/>
          <p:cNvSpPr>
            <a:spLocks noChangeArrowheads="1"/>
          </p:cNvSpPr>
          <p:nvPr/>
        </p:nvSpPr>
        <p:spPr bwMode="auto">
          <a:xfrm flipH="1">
            <a:off x="2743888" y="5584030"/>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9" name="Rectangle 19"/>
          <p:cNvSpPr>
            <a:spLocks noChangeArrowheads="1"/>
          </p:cNvSpPr>
          <p:nvPr/>
        </p:nvSpPr>
        <p:spPr bwMode="auto">
          <a:xfrm flipH="1">
            <a:off x="2743888" y="5192606"/>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0" name="Rectangle 19"/>
          <p:cNvSpPr>
            <a:spLocks noChangeArrowheads="1"/>
          </p:cNvSpPr>
          <p:nvPr/>
        </p:nvSpPr>
        <p:spPr bwMode="auto">
          <a:xfrm flipH="1">
            <a:off x="2743888" y="4801183"/>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1" name="Rectangle 19"/>
          <p:cNvSpPr>
            <a:spLocks noChangeArrowheads="1"/>
          </p:cNvSpPr>
          <p:nvPr/>
        </p:nvSpPr>
        <p:spPr bwMode="auto">
          <a:xfrm flipH="1">
            <a:off x="2743888" y="4409760"/>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2" name="Rectangle 13"/>
          <p:cNvSpPr>
            <a:spLocks noChangeArrowheads="1"/>
          </p:cNvSpPr>
          <p:nvPr/>
        </p:nvSpPr>
        <p:spPr bwMode="auto">
          <a:xfrm flipH="1">
            <a:off x="2502313" y="3313169"/>
            <a:ext cx="1875633" cy="65078"/>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3" name="Rectangle 19"/>
          <p:cNvSpPr>
            <a:spLocks noChangeArrowheads="1"/>
          </p:cNvSpPr>
          <p:nvPr/>
        </p:nvSpPr>
        <p:spPr bwMode="auto">
          <a:xfrm flipH="1">
            <a:off x="2743888" y="4018337"/>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4" name="Rectangle 19"/>
          <p:cNvSpPr>
            <a:spLocks noChangeArrowheads="1"/>
          </p:cNvSpPr>
          <p:nvPr/>
        </p:nvSpPr>
        <p:spPr bwMode="auto">
          <a:xfrm flipH="1">
            <a:off x="2743888" y="3626913"/>
            <a:ext cx="1378253" cy="223124"/>
          </a:xfrm>
          <a:prstGeom prst="rect">
            <a:avLst/>
          </a:prstGeom>
          <a:solidFill>
            <a:schemeClr val="accent3">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5" name="Rectangle 114"/>
          <p:cNvSpPr/>
          <p:nvPr/>
        </p:nvSpPr>
        <p:spPr bwMode="auto">
          <a:xfrm>
            <a:off x="2667945" y="3498110"/>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Virtualization</a:t>
            </a:r>
          </a:p>
        </p:txBody>
      </p:sp>
      <p:sp>
        <p:nvSpPr>
          <p:cNvPr id="117" name="Rectangle 116"/>
          <p:cNvSpPr/>
          <p:nvPr/>
        </p:nvSpPr>
        <p:spPr bwMode="auto">
          <a:xfrm>
            <a:off x="2667945" y="4268308"/>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torage</a:t>
            </a:r>
          </a:p>
        </p:txBody>
      </p:sp>
      <p:sp>
        <p:nvSpPr>
          <p:cNvPr id="118" name="Rectangle 117"/>
          <p:cNvSpPr/>
          <p:nvPr/>
        </p:nvSpPr>
        <p:spPr bwMode="auto">
          <a:xfrm>
            <a:off x="2667945" y="3883209"/>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Servers</a:t>
            </a:r>
          </a:p>
        </p:txBody>
      </p:sp>
      <p:sp>
        <p:nvSpPr>
          <p:cNvPr id="62" name="Rectangle 61"/>
          <p:cNvSpPr/>
          <p:nvPr/>
        </p:nvSpPr>
        <p:spPr bwMode="auto">
          <a:xfrm>
            <a:off x="2667945" y="5808702"/>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O/S</a:t>
            </a:r>
          </a:p>
        </p:txBody>
      </p:sp>
      <p:sp>
        <p:nvSpPr>
          <p:cNvPr id="63" name="Rectangle 62"/>
          <p:cNvSpPr/>
          <p:nvPr/>
        </p:nvSpPr>
        <p:spPr bwMode="auto">
          <a:xfrm>
            <a:off x="2667945" y="5423605"/>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Middleware</a:t>
            </a:r>
          </a:p>
        </p:txBody>
      </p:sp>
      <p:sp>
        <p:nvSpPr>
          <p:cNvPr id="64" name="Rectangle 63"/>
          <p:cNvSpPr/>
          <p:nvPr/>
        </p:nvSpPr>
        <p:spPr bwMode="auto">
          <a:xfrm>
            <a:off x="2667945" y="5038506"/>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Runtime</a:t>
            </a:r>
          </a:p>
        </p:txBody>
      </p:sp>
      <p:sp>
        <p:nvSpPr>
          <p:cNvPr id="116" name="Rectangle 115"/>
          <p:cNvSpPr/>
          <p:nvPr/>
        </p:nvSpPr>
        <p:spPr bwMode="auto">
          <a:xfrm>
            <a:off x="2667945" y="4653407"/>
            <a:ext cx="1530136"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Networking</a:t>
            </a:r>
          </a:p>
        </p:txBody>
      </p:sp>
      <p:cxnSp>
        <p:nvCxnSpPr>
          <p:cNvPr id="130" name="Elbow Connector 129"/>
          <p:cNvCxnSpPr/>
          <p:nvPr/>
        </p:nvCxnSpPr>
        <p:spPr>
          <a:xfrm rot="10800000" flipV="1">
            <a:off x="4278343" y="2689761"/>
            <a:ext cx="2713774" cy="1551699"/>
          </a:xfrm>
          <a:prstGeom prst="bentConnector3">
            <a:avLst>
              <a:gd name="adj1" fmla="val 50000"/>
            </a:avLst>
          </a:prstGeom>
          <a:ln w="19050">
            <a:solidFill>
              <a:schemeClr val="bg1">
                <a:lumMod val="50000"/>
              </a:schemeClr>
            </a:solidFill>
            <a:prstDash val="sysDot"/>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31" name="Rectangle 130"/>
          <p:cNvSpPr/>
          <p:nvPr/>
        </p:nvSpPr>
        <p:spPr bwMode="auto">
          <a:xfrm flipH="1">
            <a:off x="572683" y="1341102"/>
            <a:ext cx="1874440" cy="49122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2"/>
          <p:cNvSpPr>
            <a:spLocks noChangeArrowheads="1"/>
          </p:cNvSpPr>
          <p:nvPr/>
        </p:nvSpPr>
        <p:spPr bwMode="auto">
          <a:xfrm flipH="1">
            <a:off x="656529" y="4254921"/>
            <a:ext cx="1703642" cy="2119338"/>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3" name="Rectangle 13"/>
          <p:cNvSpPr>
            <a:spLocks noChangeArrowheads="1"/>
          </p:cNvSpPr>
          <p:nvPr/>
        </p:nvSpPr>
        <p:spPr bwMode="auto">
          <a:xfrm flipH="1">
            <a:off x="572858" y="4190839"/>
            <a:ext cx="1875633" cy="65078"/>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4" name="Rectangle 14"/>
          <p:cNvSpPr>
            <a:spLocks noChangeArrowheads="1"/>
          </p:cNvSpPr>
          <p:nvPr/>
        </p:nvSpPr>
        <p:spPr bwMode="auto">
          <a:xfrm flipH="1">
            <a:off x="1200394" y="5941958"/>
            <a:ext cx="223124" cy="43230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5" name="Rectangle 15"/>
          <p:cNvSpPr>
            <a:spLocks noChangeArrowheads="1"/>
          </p:cNvSpPr>
          <p:nvPr/>
        </p:nvSpPr>
        <p:spPr bwMode="auto">
          <a:xfrm flipH="1">
            <a:off x="1588535" y="5941958"/>
            <a:ext cx="223124" cy="432301"/>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6" name="Rectangle 16"/>
          <p:cNvSpPr>
            <a:spLocks noChangeArrowheads="1"/>
          </p:cNvSpPr>
          <p:nvPr/>
        </p:nvSpPr>
        <p:spPr bwMode="auto">
          <a:xfrm flipH="1">
            <a:off x="814575" y="4438199"/>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7" name="Rectangle 17"/>
          <p:cNvSpPr>
            <a:spLocks noChangeArrowheads="1"/>
          </p:cNvSpPr>
          <p:nvPr/>
        </p:nvSpPr>
        <p:spPr bwMode="auto">
          <a:xfrm flipH="1">
            <a:off x="814575" y="4817044"/>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8" name="Rectangle 18"/>
          <p:cNvSpPr>
            <a:spLocks noChangeArrowheads="1"/>
          </p:cNvSpPr>
          <p:nvPr/>
        </p:nvSpPr>
        <p:spPr bwMode="auto">
          <a:xfrm flipH="1">
            <a:off x="814575" y="5202861"/>
            <a:ext cx="1378253" cy="218475"/>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9" name="Rectangle 19"/>
          <p:cNvSpPr>
            <a:spLocks noChangeArrowheads="1"/>
          </p:cNvSpPr>
          <p:nvPr/>
        </p:nvSpPr>
        <p:spPr bwMode="auto">
          <a:xfrm flipH="1">
            <a:off x="814575" y="5584030"/>
            <a:ext cx="1378253" cy="223124"/>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0" name="Rectangle 22"/>
          <p:cNvSpPr>
            <a:spLocks noChangeArrowheads="1"/>
          </p:cNvSpPr>
          <p:nvPr/>
        </p:nvSpPr>
        <p:spPr bwMode="auto">
          <a:xfrm flipH="1">
            <a:off x="935435" y="3925879"/>
            <a:ext cx="204530" cy="264959"/>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1" name="Rectangle 23"/>
          <p:cNvSpPr>
            <a:spLocks noChangeArrowheads="1"/>
          </p:cNvSpPr>
          <p:nvPr/>
        </p:nvSpPr>
        <p:spPr bwMode="auto">
          <a:xfrm flipH="1">
            <a:off x="1209691" y="3925879"/>
            <a:ext cx="204530" cy="264959"/>
          </a:xfrm>
          <a:prstGeom prst="rect">
            <a:avLst/>
          </a:prstGeom>
          <a:solidFill>
            <a:schemeClr val="accent1">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2" name="Isosceles Triangle 141"/>
          <p:cNvSpPr/>
          <p:nvPr/>
        </p:nvSpPr>
        <p:spPr bwMode="auto">
          <a:xfrm rot="10800000">
            <a:off x="1901821" y="1341102"/>
            <a:ext cx="545301" cy="470087"/>
          </a:xfrm>
          <a:prstGeom prst="triangle">
            <a:avLst>
              <a:gd name="adj" fmla="val 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6"/>
          <p:cNvSpPr>
            <a:spLocks noChangeArrowheads="1"/>
          </p:cNvSpPr>
          <p:nvPr/>
        </p:nvSpPr>
        <p:spPr bwMode="auto">
          <a:xfrm flipH="1">
            <a:off x="814575" y="2760595"/>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4" name="Rectangle 17"/>
          <p:cNvSpPr>
            <a:spLocks noChangeArrowheads="1"/>
          </p:cNvSpPr>
          <p:nvPr/>
        </p:nvSpPr>
        <p:spPr bwMode="auto">
          <a:xfrm flipH="1">
            <a:off x="814575" y="3139135"/>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5" name="Rectangle 18"/>
          <p:cNvSpPr>
            <a:spLocks noChangeArrowheads="1"/>
          </p:cNvSpPr>
          <p:nvPr/>
        </p:nvSpPr>
        <p:spPr bwMode="auto">
          <a:xfrm flipH="1">
            <a:off x="814575" y="3517676"/>
            <a:ext cx="1378253" cy="2184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6" name="Rectangle 16"/>
          <p:cNvSpPr>
            <a:spLocks noChangeArrowheads="1"/>
          </p:cNvSpPr>
          <p:nvPr/>
        </p:nvSpPr>
        <p:spPr bwMode="auto">
          <a:xfrm flipH="1">
            <a:off x="814575" y="2382054"/>
            <a:ext cx="1378253" cy="223124"/>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7" name="Rectangle 146"/>
          <p:cNvSpPr/>
          <p:nvPr/>
        </p:nvSpPr>
        <p:spPr bwMode="auto">
          <a:xfrm>
            <a:off x="647231" y="2124724"/>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Data</a:t>
            </a:r>
          </a:p>
        </p:txBody>
      </p:sp>
      <p:sp>
        <p:nvSpPr>
          <p:cNvPr id="148" name="Rectangle 147"/>
          <p:cNvSpPr/>
          <p:nvPr/>
        </p:nvSpPr>
        <p:spPr bwMode="auto">
          <a:xfrm>
            <a:off x="647231" y="1765394"/>
            <a:ext cx="1712940" cy="323946"/>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1568" dirty="0">
                <a:solidFill>
                  <a:srgbClr val="FFFFFF"/>
                </a:solidFill>
                <a:latin typeface="Segoe UI Semibold" panose="020B0702040204020203" pitchFamily="34" charset="0"/>
                <a:ea typeface="Segoe UI" pitchFamily="34" charset="0"/>
                <a:cs typeface="Segoe UI" pitchFamily="34" charset="0"/>
              </a:rPr>
              <a:t>Applications</a:t>
            </a:r>
          </a:p>
        </p:txBody>
      </p:sp>
      <p:sp>
        <p:nvSpPr>
          <p:cNvPr id="149" name="Rectangle 148"/>
          <p:cNvSpPr/>
          <p:nvPr/>
        </p:nvSpPr>
        <p:spPr bwMode="auto">
          <a:xfrm>
            <a:off x="657427" y="1470778"/>
            <a:ext cx="598502" cy="869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0" name="Rectangle 149"/>
          <p:cNvSpPr/>
          <p:nvPr/>
        </p:nvSpPr>
        <p:spPr bwMode="auto">
          <a:xfrm>
            <a:off x="657427" y="1617364"/>
            <a:ext cx="598502" cy="86973"/>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Footer Placeholder 2"/>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6" name="Slide Number Placeholder 5"/>
          <p:cNvSpPr>
            <a:spLocks noGrp="1"/>
          </p:cNvSpPr>
          <p:nvPr>
            <p:ph type="sldNum" sz="quarter" idx="11"/>
          </p:nvPr>
        </p:nvSpPr>
        <p:spPr/>
        <p:txBody>
          <a:bodyPr/>
          <a:lstStyle/>
          <a:p>
            <a:fld id="{27258FFF-F925-446B-8502-81C933981705}" type="slidenum">
              <a:rPr>
                <a:solidFill>
                  <a:srgbClr val="505050"/>
                </a:solidFill>
              </a:rPr>
              <a:pPr/>
              <a:t>4</a:t>
            </a:fld>
            <a:endParaRPr>
              <a:solidFill>
                <a:srgbClr val="505050"/>
              </a:solidFill>
            </a:endParaRPr>
          </a:p>
        </p:txBody>
      </p:sp>
    </p:spTree>
    <p:extLst>
      <p:ext uri="{BB962C8B-B14F-4D97-AF65-F5344CB8AC3E}">
        <p14:creationId xmlns:p14="http://schemas.microsoft.com/office/powerpoint/2010/main" val="3281287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9530" y="5065549"/>
            <a:ext cx="12192000" cy="1794602"/>
            <a:chOff x="-19923" y="5166627"/>
            <a:chExt cx="12436475" cy="1830588"/>
          </a:xfrm>
        </p:grpSpPr>
        <p:grpSp>
          <p:nvGrpSpPr>
            <p:cNvPr id="5" name="Group 4"/>
            <p:cNvGrpSpPr/>
            <p:nvPr/>
          </p:nvGrpSpPr>
          <p:grpSpPr>
            <a:xfrm>
              <a:off x="2936726" y="6077355"/>
              <a:ext cx="3716366" cy="917170"/>
              <a:chOff x="4027747" y="-1320717"/>
              <a:chExt cx="3716366" cy="917170"/>
            </a:xfrm>
          </p:grpSpPr>
          <p:grpSp>
            <p:nvGrpSpPr>
              <p:cNvPr id="213" name="Group 212"/>
              <p:cNvGrpSpPr/>
              <p:nvPr/>
            </p:nvGrpSpPr>
            <p:grpSpPr>
              <a:xfrm flipH="1">
                <a:off x="5622079" y="-758544"/>
                <a:ext cx="203193" cy="350559"/>
                <a:chOff x="6812419" y="6555317"/>
                <a:chExt cx="203193" cy="393100"/>
              </a:xfrm>
            </p:grpSpPr>
            <p:sp>
              <p:nvSpPr>
                <p:cNvPr id="252"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53"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54"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14" name="Group 213"/>
              <p:cNvGrpSpPr/>
              <p:nvPr/>
            </p:nvGrpSpPr>
            <p:grpSpPr>
              <a:xfrm flipH="1">
                <a:off x="5354802" y="-758544"/>
                <a:ext cx="204756" cy="350559"/>
                <a:chOff x="7078133" y="6555317"/>
                <a:chExt cx="204756" cy="393100"/>
              </a:xfrm>
            </p:grpSpPr>
            <p:sp>
              <p:nvSpPr>
                <p:cNvPr id="249"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50"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51"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15" name="Group 214"/>
              <p:cNvGrpSpPr/>
              <p:nvPr/>
            </p:nvGrpSpPr>
            <p:grpSpPr>
              <a:xfrm flipH="1">
                <a:off x="4300301" y="-1320717"/>
                <a:ext cx="779166" cy="917170"/>
                <a:chOff x="10027859" y="5966057"/>
                <a:chExt cx="779166" cy="1028469"/>
              </a:xfrm>
            </p:grpSpPr>
            <p:sp>
              <p:nvSpPr>
                <p:cNvPr id="224" name="Rectangle 10"/>
                <p:cNvSpPr>
                  <a:spLocks noChangeArrowheads="1"/>
                </p:cNvSpPr>
                <p:nvPr/>
              </p:nvSpPr>
              <p:spPr bwMode="auto">
                <a:xfrm>
                  <a:off x="10063027" y="6104385"/>
                  <a:ext cx="708830" cy="89014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5" name="Rectangle 11"/>
                <p:cNvSpPr>
                  <a:spLocks noChangeArrowheads="1"/>
                </p:cNvSpPr>
                <p:nvPr/>
              </p:nvSpPr>
              <p:spPr bwMode="auto">
                <a:xfrm>
                  <a:off x="10027859" y="6077032"/>
                  <a:ext cx="779166" cy="27353"/>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6"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7" name="Rectangle 13"/>
                <p:cNvSpPr>
                  <a:spLocks noChangeArrowheads="1"/>
                </p:cNvSpPr>
                <p:nvPr/>
              </p:nvSpPr>
              <p:spPr bwMode="auto">
                <a:xfrm>
                  <a:off x="10129455" y="6185662"/>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8" name="Rectangle 14"/>
                <p:cNvSpPr>
                  <a:spLocks noChangeArrowheads="1"/>
                </p:cNvSpPr>
                <p:nvPr/>
              </p:nvSpPr>
              <p:spPr bwMode="auto">
                <a:xfrm>
                  <a:off x="10289665" y="6185662"/>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9"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0" name="Rectangle 16"/>
                <p:cNvSpPr>
                  <a:spLocks noChangeArrowheads="1"/>
                </p:cNvSpPr>
                <p:nvPr/>
              </p:nvSpPr>
              <p:spPr bwMode="auto">
                <a:xfrm>
                  <a:off x="10289665" y="6813997"/>
                  <a:ext cx="92218" cy="18052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1" name="Rectangle 17"/>
                <p:cNvSpPr>
                  <a:spLocks noChangeArrowheads="1"/>
                </p:cNvSpPr>
                <p:nvPr/>
              </p:nvSpPr>
              <p:spPr bwMode="auto">
                <a:xfrm>
                  <a:off x="10448311" y="6813997"/>
                  <a:ext cx="93000" cy="18052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2" name="Rectangle 18"/>
                <p:cNvSpPr>
                  <a:spLocks noChangeArrowheads="1"/>
                </p:cNvSpPr>
                <p:nvPr/>
              </p:nvSpPr>
              <p:spPr bwMode="auto">
                <a:xfrm>
                  <a:off x="10609302" y="6185662"/>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3"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4" name="Rectangle 20"/>
                <p:cNvSpPr>
                  <a:spLocks noChangeArrowheads="1"/>
                </p:cNvSpPr>
                <p:nvPr/>
              </p:nvSpPr>
              <p:spPr bwMode="auto">
                <a:xfrm>
                  <a:off x="10289665" y="6344309"/>
                  <a:ext cx="92218" cy="930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5" name="Rectangle 21"/>
                <p:cNvSpPr>
                  <a:spLocks noChangeArrowheads="1"/>
                </p:cNvSpPr>
                <p:nvPr/>
              </p:nvSpPr>
              <p:spPr bwMode="auto">
                <a:xfrm>
                  <a:off x="10448311" y="6344309"/>
                  <a:ext cx="93000" cy="930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6"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7"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8"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9" name="Rectangle 25"/>
                <p:cNvSpPr>
                  <a:spLocks noChangeArrowheads="1"/>
                </p:cNvSpPr>
                <p:nvPr/>
              </p:nvSpPr>
              <p:spPr bwMode="auto">
                <a:xfrm>
                  <a:off x="10448311" y="6505300"/>
                  <a:ext cx="93000"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0"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1" name="Rectangle 27"/>
                <p:cNvSpPr>
                  <a:spLocks noChangeArrowheads="1"/>
                </p:cNvSpPr>
                <p:nvPr/>
              </p:nvSpPr>
              <p:spPr bwMode="auto">
                <a:xfrm>
                  <a:off x="10129455" y="6663947"/>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2"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3"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4" name="Rectangle 30"/>
                <p:cNvSpPr>
                  <a:spLocks noChangeArrowheads="1"/>
                </p:cNvSpPr>
                <p:nvPr/>
              </p:nvSpPr>
              <p:spPr bwMode="auto">
                <a:xfrm>
                  <a:off x="10609302" y="6663947"/>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5" name="Rectangle 31"/>
                <p:cNvSpPr>
                  <a:spLocks noChangeArrowheads="1"/>
                </p:cNvSpPr>
                <p:nvPr/>
              </p:nvSpPr>
              <p:spPr bwMode="auto">
                <a:xfrm>
                  <a:off x="10129455" y="6505300"/>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6" name="Rectangle 32"/>
                <p:cNvSpPr>
                  <a:spLocks noChangeArrowheads="1"/>
                </p:cNvSpPr>
                <p:nvPr/>
              </p:nvSpPr>
              <p:spPr bwMode="auto">
                <a:xfrm>
                  <a:off x="10609302" y="6505300"/>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7" name="Rectangle 33"/>
                <p:cNvSpPr>
                  <a:spLocks noChangeArrowheads="1"/>
                </p:cNvSpPr>
                <p:nvPr/>
              </p:nvSpPr>
              <p:spPr bwMode="auto">
                <a:xfrm>
                  <a:off x="10609302" y="6344309"/>
                  <a:ext cx="92218" cy="46891"/>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8" name="Rectangle 41"/>
                <p:cNvSpPr>
                  <a:spLocks noChangeArrowheads="1"/>
                </p:cNvSpPr>
                <p:nvPr/>
              </p:nvSpPr>
              <p:spPr bwMode="auto">
                <a:xfrm>
                  <a:off x="10381881" y="5966057"/>
                  <a:ext cx="273529" cy="1109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16" name="Group 215"/>
              <p:cNvGrpSpPr/>
              <p:nvPr/>
            </p:nvGrpSpPr>
            <p:grpSpPr>
              <a:xfrm flipH="1">
                <a:off x="4027747" y="-754425"/>
                <a:ext cx="204756" cy="350559"/>
                <a:chOff x="7078133" y="6555317"/>
                <a:chExt cx="204756" cy="393100"/>
              </a:xfrm>
            </p:grpSpPr>
            <p:sp>
              <p:nvSpPr>
                <p:cNvPr id="221"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2"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3"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17" name="Group 216"/>
              <p:cNvGrpSpPr/>
              <p:nvPr/>
            </p:nvGrpSpPr>
            <p:grpSpPr>
              <a:xfrm flipH="1">
                <a:off x="7540920" y="-758544"/>
                <a:ext cx="203193" cy="350559"/>
                <a:chOff x="6812419" y="6555317"/>
                <a:chExt cx="203193" cy="393100"/>
              </a:xfrm>
            </p:grpSpPr>
            <p:sp>
              <p:nvSpPr>
                <p:cNvPr id="218" name="Rectangle 217"/>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9" name="Oval 218"/>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0" name="Oval 219"/>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grpSp>
          <p:nvGrpSpPr>
            <p:cNvPr id="99" name="Group 98"/>
            <p:cNvGrpSpPr/>
            <p:nvPr/>
          </p:nvGrpSpPr>
          <p:grpSpPr>
            <a:xfrm>
              <a:off x="10413145" y="5166627"/>
              <a:ext cx="1517989" cy="1827904"/>
              <a:chOff x="-159204" y="3902912"/>
              <a:chExt cx="2567441" cy="3091613"/>
            </a:xfrm>
          </p:grpSpPr>
          <p:grpSp>
            <p:nvGrpSpPr>
              <p:cNvPr id="148" name="Group 147"/>
              <p:cNvGrpSpPr/>
              <p:nvPr/>
            </p:nvGrpSpPr>
            <p:grpSpPr>
              <a:xfrm>
                <a:off x="425222" y="3902912"/>
                <a:ext cx="1623928" cy="3091613"/>
                <a:chOff x="425222" y="3602875"/>
                <a:chExt cx="1623928" cy="3091613"/>
              </a:xfrm>
            </p:grpSpPr>
            <p:sp>
              <p:nvSpPr>
                <p:cNvPr id="165" name="Rectangle 164"/>
                <p:cNvSpPr/>
                <p:nvPr/>
              </p:nvSpPr>
              <p:spPr bwMode="auto">
                <a:xfrm>
                  <a:off x="1226909" y="3900827"/>
                  <a:ext cx="822241" cy="27174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Rectangle 165"/>
                <p:cNvSpPr/>
                <p:nvPr/>
              </p:nvSpPr>
              <p:spPr bwMode="auto">
                <a:xfrm>
                  <a:off x="425222" y="4564062"/>
                  <a:ext cx="1011238" cy="213042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Rectangle 22"/>
                <p:cNvSpPr>
                  <a:spLocks noChangeArrowheads="1"/>
                </p:cNvSpPr>
                <p:nvPr/>
              </p:nvSpPr>
              <p:spPr bwMode="auto">
                <a:xfrm>
                  <a:off x="1772780" y="3602875"/>
                  <a:ext cx="139700" cy="180974"/>
                </a:xfrm>
                <a:prstGeom prst="rect">
                  <a:avLst/>
                </a:prstGeom>
                <a:solidFill>
                  <a:schemeClr val="bg1">
                    <a:lumMod val="8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8" name="Rectangle 23"/>
                <p:cNvSpPr>
                  <a:spLocks noChangeArrowheads="1"/>
                </p:cNvSpPr>
                <p:nvPr/>
              </p:nvSpPr>
              <p:spPr bwMode="auto">
                <a:xfrm>
                  <a:off x="1585455" y="3602875"/>
                  <a:ext cx="139700" cy="180974"/>
                </a:xfrm>
                <a:prstGeom prst="rect">
                  <a:avLst/>
                </a:prstGeom>
                <a:solidFill>
                  <a:schemeClr val="bg1">
                    <a:lumMod val="8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sp>
            <p:nvSpPr>
              <p:cNvPr id="149" name="Rectangle 6"/>
              <p:cNvSpPr>
                <a:spLocks noChangeArrowheads="1"/>
              </p:cNvSpPr>
              <p:nvPr/>
            </p:nvSpPr>
            <p:spPr bwMode="auto">
              <a:xfrm>
                <a:off x="-92957" y="6070600"/>
                <a:ext cx="1154768" cy="923925"/>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0" name="Rectangle 7"/>
              <p:cNvSpPr>
                <a:spLocks noChangeArrowheads="1"/>
              </p:cNvSpPr>
              <p:nvPr/>
            </p:nvSpPr>
            <p:spPr bwMode="auto">
              <a:xfrm>
                <a:off x="-159204" y="6026150"/>
                <a:ext cx="1278164" cy="50908"/>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1" name="Rectangle 8"/>
              <p:cNvSpPr>
                <a:spLocks noChangeArrowheads="1"/>
              </p:cNvSpPr>
              <p:nvPr/>
            </p:nvSpPr>
            <p:spPr bwMode="auto">
              <a:xfrm>
                <a:off x="536347"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2" name="Rectangle 9"/>
              <p:cNvSpPr>
                <a:spLocks noChangeArrowheads="1"/>
              </p:cNvSpPr>
              <p:nvPr/>
            </p:nvSpPr>
            <p:spPr bwMode="auto">
              <a:xfrm>
                <a:off x="275997" y="6699250"/>
                <a:ext cx="149225"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3" name="Rectangle 10"/>
              <p:cNvSpPr>
                <a:spLocks noChangeArrowheads="1"/>
              </p:cNvSpPr>
              <p:nvPr/>
            </p:nvSpPr>
            <p:spPr bwMode="auto">
              <a:xfrm>
                <a:off x="12472"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4" name="Rectangle 11"/>
              <p:cNvSpPr>
                <a:spLocks noChangeArrowheads="1"/>
              </p:cNvSpPr>
              <p:nvPr/>
            </p:nvSpPr>
            <p:spPr bwMode="auto">
              <a:xfrm>
                <a:off x="12472"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5" name="Rectangle 12"/>
              <p:cNvSpPr>
                <a:spLocks noChangeArrowheads="1"/>
              </p:cNvSpPr>
              <p:nvPr/>
            </p:nvSpPr>
            <p:spPr bwMode="auto">
              <a:xfrm>
                <a:off x="1187449" y="5546953"/>
                <a:ext cx="1163638" cy="1447571"/>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6" name="Rectangle 13"/>
              <p:cNvSpPr>
                <a:spLocks noChangeArrowheads="1"/>
              </p:cNvSpPr>
              <p:nvPr/>
            </p:nvSpPr>
            <p:spPr bwMode="auto">
              <a:xfrm>
                <a:off x="1127124" y="5503183"/>
                <a:ext cx="1281113" cy="4445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7" name="Rectangle 14"/>
              <p:cNvSpPr>
                <a:spLocks noChangeArrowheads="1"/>
              </p:cNvSpPr>
              <p:nvPr/>
            </p:nvSpPr>
            <p:spPr bwMode="auto">
              <a:xfrm>
                <a:off x="1827211"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8" name="Rectangle 15"/>
              <p:cNvSpPr>
                <a:spLocks noChangeArrowheads="1"/>
              </p:cNvSpPr>
              <p:nvPr/>
            </p:nvSpPr>
            <p:spPr bwMode="auto">
              <a:xfrm>
                <a:off x="1562099"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9" name="Rectangle 16"/>
              <p:cNvSpPr>
                <a:spLocks noChangeArrowheads="1"/>
              </p:cNvSpPr>
              <p:nvPr/>
            </p:nvSpPr>
            <p:spPr bwMode="auto">
              <a:xfrm>
                <a:off x="1301749" y="5672138"/>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0" name="Rectangle 17"/>
              <p:cNvSpPr>
                <a:spLocks noChangeArrowheads="1"/>
              </p:cNvSpPr>
              <p:nvPr/>
            </p:nvSpPr>
            <p:spPr bwMode="auto">
              <a:xfrm>
                <a:off x="1301749" y="5930900"/>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1" name="Rectangle 18"/>
              <p:cNvSpPr>
                <a:spLocks noChangeArrowheads="1"/>
              </p:cNvSpPr>
              <p:nvPr/>
            </p:nvSpPr>
            <p:spPr bwMode="auto">
              <a:xfrm>
                <a:off x="1301749"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2" name="Rectangle 19"/>
              <p:cNvSpPr>
                <a:spLocks noChangeArrowheads="1"/>
              </p:cNvSpPr>
              <p:nvPr/>
            </p:nvSpPr>
            <p:spPr bwMode="auto">
              <a:xfrm>
                <a:off x="1301749"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3" name="Rectangle 22"/>
              <p:cNvSpPr>
                <a:spLocks noChangeArrowheads="1"/>
              </p:cNvSpPr>
              <p:nvPr/>
            </p:nvSpPr>
            <p:spPr bwMode="auto">
              <a:xfrm>
                <a:off x="2020886"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4" name="Rectangle 23"/>
              <p:cNvSpPr>
                <a:spLocks noChangeArrowheads="1"/>
              </p:cNvSpPr>
              <p:nvPr/>
            </p:nvSpPr>
            <p:spPr bwMode="auto">
              <a:xfrm>
                <a:off x="1833561"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sp>
          <p:nvSpPr>
            <p:cNvPr id="100" name="Rectangle 99"/>
            <p:cNvSpPr>
              <a:spLocks noChangeArrowheads="1"/>
            </p:cNvSpPr>
            <p:nvPr/>
          </p:nvSpPr>
          <p:spPr bwMode="auto">
            <a:xfrm>
              <a:off x="-19923" y="6951496"/>
              <a:ext cx="12436475" cy="45719"/>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endParaRPr lang="en-US" sz="1800">
                <a:solidFill>
                  <a:srgbClr val="000000"/>
                </a:solidFill>
              </a:endParaRPr>
            </a:p>
          </p:txBody>
        </p:sp>
        <p:grpSp>
          <p:nvGrpSpPr>
            <p:cNvPr id="123" name="Group 122"/>
            <p:cNvGrpSpPr/>
            <p:nvPr/>
          </p:nvGrpSpPr>
          <p:grpSpPr>
            <a:xfrm>
              <a:off x="9822746" y="6003574"/>
              <a:ext cx="625261" cy="955859"/>
              <a:chOff x="11502354" y="3975100"/>
              <a:chExt cx="691745" cy="1057495"/>
            </a:xfrm>
          </p:grpSpPr>
          <p:sp>
            <p:nvSpPr>
              <p:cNvPr id="137" name="Rectangle 48"/>
              <p:cNvSpPr>
                <a:spLocks noChangeArrowheads="1"/>
              </p:cNvSpPr>
              <p:nvPr/>
            </p:nvSpPr>
            <p:spPr bwMode="auto">
              <a:xfrm>
                <a:off x="11502354" y="3975100"/>
                <a:ext cx="691745" cy="105749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8" name="Freeform 49"/>
              <p:cNvSpPr>
                <a:spLocks/>
              </p:cNvSpPr>
              <p:nvPr/>
            </p:nvSpPr>
            <p:spPr bwMode="auto">
              <a:xfrm>
                <a:off x="11571926" y="4088404"/>
                <a:ext cx="546637" cy="95413"/>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39" name="Freeform 50"/>
              <p:cNvSpPr>
                <a:spLocks/>
              </p:cNvSpPr>
              <p:nvPr/>
            </p:nvSpPr>
            <p:spPr bwMode="auto">
              <a:xfrm>
                <a:off x="11571926" y="4259352"/>
                <a:ext cx="546637" cy="9740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0" name="Freeform 51"/>
              <p:cNvSpPr>
                <a:spLocks/>
              </p:cNvSpPr>
              <p:nvPr/>
            </p:nvSpPr>
            <p:spPr bwMode="auto">
              <a:xfrm>
                <a:off x="11571926" y="4430300"/>
                <a:ext cx="546637" cy="91438"/>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1" name="Freeform 52"/>
              <p:cNvSpPr>
                <a:spLocks/>
              </p:cNvSpPr>
              <p:nvPr/>
            </p:nvSpPr>
            <p:spPr bwMode="auto">
              <a:xfrm>
                <a:off x="11571926" y="4597273"/>
                <a:ext cx="546637" cy="9740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2" name="Freeform 53"/>
              <p:cNvSpPr>
                <a:spLocks/>
              </p:cNvSpPr>
              <p:nvPr/>
            </p:nvSpPr>
            <p:spPr bwMode="auto">
              <a:xfrm>
                <a:off x="11571926" y="4768222"/>
                <a:ext cx="546637" cy="97401"/>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102" name="Group 101"/>
            <p:cNvGrpSpPr/>
            <p:nvPr/>
          </p:nvGrpSpPr>
          <p:grpSpPr>
            <a:xfrm>
              <a:off x="-19923" y="5564539"/>
              <a:ext cx="2761986" cy="1385302"/>
              <a:chOff x="0" y="5154709"/>
              <a:chExt cx="3668193" cy="1839819"/>
            </a:xfrm>
          </p:grpSpPr>
          <p:sp>
            <p:nvSpPr>
              <p:cNvPr id="255" name="Rectangle 254"/>
              <p:cNvSpPr/>
              <p:nvPr/>
            </p:nvSpPr>
            <p:spPr bwMode="auto">
              <a:xfrm>
                <a:off x="1771830" y="5891031"/>
                <a:ext cx="1087301" cy="60146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3" name="Rectangle 102"/>
              <p:cNvSpPr/>
              <p:nvPr/>
            </p:nvSpPr>
            <p:spPr bwMode="auto">
              <a:xfrm>
                <a:off x="1771830" y="6393068"/>
                <a:ext cx="1896363" cy="60146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4" name="Group 103"/>
              <p:cNvGrpSpPr/>
              <p:nvPr/>
            </p:nvGrpSpPr>
            <p:grpSpPr>
              <a:xfrm>
                <a:off x="0" y="5154709"/>
                <a:ext cx="2489610" cy="1839819"/>
                <a:chOff x="478286" y="5322208"/>
                <a:chExt cx="2262949" cy="1672317"/>
              </a:xfrm>
            </p:grpSpPr>
            <p:grpSp>
              <p:nvGrpSpPr>
                <p:cNvPr id="105" name="Group 104"/>
                <p:cNvGrpSpPr/>
                <p:nvPr/>
              </p:nvGrpSpPr>
              <p:grpSpPr>
                <a:xfrm>
                  <a:off x="1460122" y="5322208"/>
                  <a:ext cx="1281113" cy="1672317"/>
                  <a:chOff x="1011678" y="5322208"/>
                  <a:chExt cx="1281113" cy="1672317"/>
                </a:xfrm>
              </p:grpSpPr>
              <p:sp>
                <p:nvSpPr>
                  <p:cNvPr id="113" name="Rectangle 12"/>
                  <p:cNvSpPr>
                    <a:spLocks noChangeArrowheads="1"/>
                  </p:cNvSpPr>
                  <p:nvPr/>
                </p:nvSpPr>
                <p:spPr bwMode="auto">
                  <a:xfrm>
                    <a:off x="1072003" y="5546953"/>
                    <a:ext cx="1163638" cy="1447571"/>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4" name="Rectangle 13"/>
                  <p:cNvSpPr>
                    <a:spLocks noChangeArrowheads="1"/>
                  </p:cNvSpPr>
                  <p:nvPr/>
                </p:nvSpPr>
                <p:spPr bwMode="auto">
                  <a:xfrm>
                    <a:off x="1011678" y="5503183"/>
                    <a:ext cx="1281113" cy="4445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5" name="Rectangle 14"/>
                  <p:cNvSpPr>
                    <a:spLocks noChangeArrowheads="1"/>
                  </p:cNvSpPr>
                  <p:nvPr/>
                </p:nvSpPr>
                <p:spPr bwMode="auto">
                  <a:xfrm>
                    <a:off x="1711765"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6" name="Rectangle 15"/>
                  <p:cNvSpPr>
                    <a:spLocks noChangeArrowheads="1"/>
                  </p:cNvSpPr>
                  <p:nvPr/>
                </p:nvSpPr>
                <p:spPr bwMode="auto">
                  <a:xfrm>
                    <a:off x="1446653"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7" name="Rectangle 16"/>
                  <p:cNvSpPr>
                    <a:spLocks noChangeArrowheads="1"/>
                  </p:cNvSpPr>
                  <p:nvPr/>
                </p:nvSpPr>
                <p:spPr bwMode="auto">
                  <a:xfrm>
                    <a:off x="1186303" y="5672138"/>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8" name="Rectangle 17"/>
                  <p:cNvSpPr>
                    <a:spLocks noChangeArrowheads="1"/>
                  </p:cNvSpPr>
                  <p:nvPr/>
                </p:nvSpPr>
                <p:spPr bwMode="auto">
                  <a:xfrm>
                    <a:off x="1186303" y="5930900"/>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9" name="Rectangle 18"/>
                  <p:cNvSpPr>
                    <a:spLocks noChangeArrowheads="1"/>
                  </p:cNvSpPr>
                  <p:nvPr/>
                </p:nvSpPr>
                <p:spPr bwMode="auto">
                  <a:xfrm>
                    <a:off x="1186303"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0" name="Rectangle 19"/>
                  <p:cNvSpPr>
                    <a:spLocks noChangeArrowheads="1"/>
                  </p:cNvSpPr>
                  <p:nvPr/>
                </p:nvSpPr>
                <p:spPr bwMode="auto">
                  <a:xfrm>
                    <a:off x="1186303"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1" name="Rectangle 22"/>
                  <p:cNvSpPr>
                    <a:spLocks noChangeArrowheads="1"/>
                  </p:cNvSpPr>
                  <p:nvPr/>
                </p:nvSpPr>
                <p:spPr bwMode="auto">
                  <a:xfrm>
                    <a:off x="1905440"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22" name="Rectangle 23"/>
                  <p:cNvSpPr>
                    <a:spLocks noChangeArrowheads="1"/>
                  </p:cNvSpPr>
                  <p:nvPr/>
                </p:nvSpPr>
                <p:spPr bwMode="auto">
                  <a:xfrm>
                    <a:off x="1718115"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106" name="Group 105"/>
                <p:cNvGrpSpPr/>
                <p:nvPr/>
              </p:nvGrpSpPr>
              <p:grpSpPr>
                <a:xfrm>
                  <a:off x="478286" y="6026150"/>
                  <a:ext cx="1116013" cy="968375"/>
                  <a:chOff x="451391" y="6026150"/>
                  <a:chExt cx="1116013" cy="968375"/>
                </a:xfrm>
              </p:grpSpPr>
              <p:sp>
                <p:nvSpPr>
                  <p:cNvPr id="107" name="Rectangle 6"/>
                  <p:cNvSpPr>
                    <a:spLocks noChangeArrowheads="1"/>
                  </p:cNvSpPr>
                  <p:nvPr/>
                </p:nvSpPr>
                <p:spPr bwMode="auto">
                  <a:xfrm>
                    <a:off x="451391" y="6070600"/>
                    <a:ext cx="1058863" cy="923925"/>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8" name="Rectangle 7"/>
                  <p:cNvSpPr>
                    <a:spLocks noChangeArrowheads="1"/>
                  </p:cNvSpPr>
                  <p:nvPr/>
                </p:nvSpPr>
                <p:spPr bwMode="auto">
                  <a:xfrm>
                    <a:off x="451391" y="6026150"/>
                    <a:ext cx="1116013" cy="4445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09" name="Rectangle 8"/>
                  <p:cNvSpPr>
                    <a:spLocks noChangeArrowheads="1"/>
                  </p:cNvSpPr>
                  <p:nvPr/>
                </p:nvSpPr>
                <p:spPr bwMode="auto">
                  <a:xfrm>
                    <a:off x="984791"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0" name="Rectangle 9"/>
                  <p:cNvSpPr>
                    <a:spLocks noChangeArrowheads="1"/>
                  </p:cNvSpPr>
                  <p:nvPr/>
                </p:nvSpPr>
                <p:spPr bwMode="auto">
                  <a:xfrm>
                    <a:off x="724441" y="6699250"/>
                    <a:ext cx="149225"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1" name="Rectangle 10"/>
                  <p:cNvSpPr>
                    <a:spLocks noChangeArrowheads="1"/>
                  </p:cNvSpPr>
                  <p:nvPr/>
                </p:nvSpPr>
                <p:spPr bwMode="auto">
                  <a:xfrm>
                    <a:off x="460916"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12" name="Rectangle 11"/>
                  <p:cNvSpPr>
                    <a:spLocks noChangeArrowheads="1"/>
                  </p:cNvSpPr>
                  <p:nvPr/>
                </p:nvSpPr>
                <p:spPr bwMode="auto">
                  <a:xfrm>
                    <a:off x="460916"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grpSp>
      </p:grpSp>
      <p:sp>
        <p:nvSpPr>
          <p:cNvPr id="170" name="Rectangle 169"/>
          <p:cNvSpPr/>
          <p:nvPr/>
        </p:nvSpPr>
        <p:spPr bwMode="auto">
          <a:xfrm>
            <a:off x="573715" y="1196629"/>
            <a:ext cx="11050240" cy="6278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endParaRPr lang="en-US" sz="2157" dirty="0">
              <a:solidFill>
                <a:srgbClr val="505050"/>
              </a:solidFill>
              <a:latin typeface="Segoe UI Light"/>
            </a:endParaRPr>
          </a:p>
        </p:txBody>
      </p:sp>
      <p:sp>
        <p:nvSpPr>
          <p:cNvPr id="171" name="Rectangle 170"/>
          <p:cNvSpPr/>
          <p:nvPr/>
        </p:nvSpPr>
        <p:spPr bwMode="auto">
          <a:xfrm>
            <a:off x="573715" y="1888349"/>
            <a:ext cx="11050240" cy="6278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endParaRPr lang="en-US" sz="2157" dirty="0">
              <a:solidFill>
                <a:srgbClr val="505050"/>
              </a:solidFill>
              <a:latin typeface="Segoe UI Light"/>
            </a:endParaRPr>
          </a:p>
        </p:txBody>
      </p:sp>
      <p:sp>
        <p:nvSpPr>
          <p:cNvPr id="172" name="Rectangle 171"/>
          <p:cNvSpPr/>
          <p:nvPr/>
        </p:nvSpPr>
        <p:spPr bwMode="auto">
          <a:xfrm>
            <a:off x="573715" y="2580067"/>
            <a:ext cx="11050240" cy="6278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endParaRPr lang="en-US" sz="2157" dirty="0">
              <a:solidFill>
                <a:srgbClr val="505050"/>
              </a:solidFill>
              <a:latin typeface="Segoe UI Light"/>
            </a:endParaRPr>
          </a:p>
        </p:txBody>
      </p:sp>
      <p:sp>
        <p:nvSpPr>
          <p:cNvPr id="173" name="Rectangle 172"/>
          <p:cNvSpPr/>
          <p:nvPr/>
        </p:nvSpPr>
        <p:spPr bwMode="auto">
          <a:xfrm>
            <a:off x="573715" y="3271787"/>
            <a:ext cx="11050240" cy="62784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endParaRPr lang="en-US" sz="2157" dirty="0">
              <a:solidFill>
                <a:srgbClr val="505050"/>
              </a:solidFill>
              <a:latin typeface="Segoe UI Light"/>
            </a:endParaRPr>
          </a:p>
        </p:txBody>
      </p:sp>
      <p:sp>
        <p:nvSpPr>
          <p:cNvPr id="174" name="Rectangle 173"/>
          <p:cNvSpPr/>
          <p:nvPr/>
        </p:nvSpPr>
        <p:spPr bwMode="auto">
          <a:xfrm>
            <a:off x="573715" y="3963506"/>
            <a:ext cx="11050240" cy="62784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endParaRPr lang="en-US" sz="2157" dirty="0">
              <a:solidFill>
                <a:srgbClr val="505050"/>
              </a:solidFill>
              <a:latin typeface="Segoe UI Light"/>
            </a:endParaRPr>
          </a:p>
        </p:txBody>
      </p:sp>
      <p:sp>
        <p:nvSpPr>
          <p:cNvPr id="2" name="Slide Number Placeholder 1"/>
          <p:cNvSpPr>
            <a:spLocks noGrp="1"/>
          </p:cNvSpPr>
          <p:nvPr>
            <p:ph type="sldNum" sz="quarter" idx="11"/>
          </p:nvPr>
        </p:nvSpPr>
        <p:spPr/>
        <p:txBody>
          <a:bodyPr/>
          <a:lstStyle/>
          <a:p>
            <a:fld id="{27258FFF-F925-446B-8502-81C933981705}" type="slidenum">
              <a:rPr>
                <a:solidFill>
                  <a:srgbClr val="FFFFFF"/>
                </a:solidFill>
              </a:rPr>
              <a:pPr/>
              <a:t>5</a:t>
            </a:fld>
            <a:endParaRPr>
              <a:solidFill>
                <a:srgbClr val="FFFFFF"/>
              </a:solidFill>
            </a:endParaRPr>
          </a:p>
        </p:txBody>
      </p:sp>
      <p:sp>
        <p:nvSpPr>
          <p:cNvPr id="3" name="Title 2"/>
          <p:cNvSpPr>
            <a:spLocks noGrp="1"/>
          </p:cNvSpPr>
          <p:nvPr>
            <p:ph type="title"/>
          </p:nvPr>
        </p:nvSpPr>
        <p:spPr>
          <a:xfrm>
            <a:off x="573715" y="260242"/>
            <a:ext cx="11005512" cy="1075731"/>
          </a:xfrm>
        </p:spPr>
        <p:txBody>
          <a:bodyPr/>
          <a:lstStyle/>
          <a:p>
            <a:r>
              <a:rPr lang="en-US" dirty="0"/>
              <a:t>Azure: an open platform powered by choice</a:t>
            </a:r>
          </a:p>
        </p:txBody>
      </p:sp>
      <p:sp>
        <p:nvSpPr>
          <p:cNvPr id="9" name="Rectangle 8"/>
          <p:cNvSpPr/>
          <p:nvPr/>
        </p:nvSpPr>
        <p:spPr bwMode="auto">
          <a:xfrm>
            <a:off x="1523153" y="1196629"/>
            <a:ext cx="10039958" cy="627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r>
              <a:rPr lang="en-US" sz="2157" dirty="0">
                <a:solidFill>
                  <a:srgbClr val="505050"/>
                </a:solidFill>
                <a:latin typeface="Segoe UI Light"/>
              </a:rPr>
              <a:t>Partnered with open source communities </a:t>
            </a:r>
          </a:p>
        </p:txBody>
      </p:sp>
      <p:sp>
        <p:nvSpPr>
          <p:cNvPr id="10" name="Rectangle 9"/>
          <p:cNvSpPr/>
          <p:nvPr/>
        </p:nvSpPr>
        <p:spPr bwMode="auto">
          <a:xfrm>
            <a:off x="1523153" y="1888349"/>
            <a:ext cx="10039958" cy="627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r>
              <a:rPr lang="en-US" sz="2157" dirty="0">
                <a:solidFill>
                  <a:srgbClr val="505050"/>
                </a:solidFill>
                <a:latin typeface="Segoe UI Light"/>
              </a:rPr>
              <a:t>Interoperability between Microsoft and non-Microsoft technologies</a:t>
            </a:r>
          </a:p>
        </p:txBody>
      </p:sp>
      <p:sp>
        <p:nvSpPr>
          <p:cNvPr id="11" name="Rectangle 10"/>
          <p:cNvSpPr/>
          <p:nvPr/>
        </p:nvSpPr>
        <p:spPr bwMode="auto">
          <a:xfrm>
            <a:off x="1523153" y="2580067"/>
            <a:ext cx="10039958" cy="627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r>
              <a:rPr lang="en-US" sz="2157">
                <a:solidFill>
                  <a:srgbClr val="505050"/>
                </a:solidFill>
                <a:latin typeface="Segoe UI Light"/>
              </a:rPr>
              <a:t>Platform and tools independent</a:t>
            </a:r>
            <a:endParaRPr lang="en-US" sz="2157" dirty="0">
              <a:solidFill>
                <a:srgbClr val="505050"/>
              </a:solidFill>
              <a:latin typeface="Segoe UI Light"/>
            </a:endParaRPr>
          </a:p>
        </p:txBody>
      </p:sp>
      <p:sp>
        <p:nvSpPr>
          <p:cNvPr id="12" name="Rectangle 11"/>
          <p:cNvSpPr/>
          <p:nvPr/>
        </p:nvSpPr>
        <p:spPr bwMode="auto">
          <a:xfrm>
            <a:off x="1523153" y="3271787"/>
            <a:ext cx="10039958" cy="627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r>
              <a:rPr lang="en-US" sz="2157" dirty="0">
                <a:solidFill>
                  <a:srgbClr val="505050"/>
                </a:solidFill>
                <a:latin typeface="Segoe UI Light"/>
              </a:rPr>
              <a:t>Compatibility with the tools developers already know</a:t>
            </a:r>
          </a:p>
        </p:txBody>
      </p:sp>
      <p:sp>
        <p:nvSpPr>
          <p:cNvPr id="13" name="Rectangle 12"/>
          <p:cNvSpPr/>
          <p:nvPr/>
        </p:nvSpPr>
        <p:spPr bwMode="auto">
          <a:xfrm>
            <a:off x="1523153" y="3963506"/>
            <a:ext cx="10039958" cy="62784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34464" rIns="179285" bIns="134464" numCol="1" spcCol="0" rtlCol="0" fromWordArt="0" anchor="ctr" anchorCtr="0" forceAA="0" compatLnSpc="1">
            <a:prstTxWarp prst="textNoShape">
              <a:avLst/>
            </a:prstTxWarp>
            <a:noAutofit/>
          </a:bodyPr>
          <a:lstStyle/>
          <a:p>
            <a:pPr defTabSz="913844">
              <a:spcAft>
                <a:spcPts val="588"/>
              </a:spcAft>
            </a:pPr>
            <a:r>
              <a:rPr lang="en-US" sz="2157" dirty="0">
                <a:solidFill>
                  <a:srgbClr val="505050"/>
                </a:solidFill>
                <a:latin typeface="Segoe UI Light"/>
              </a:rPr>
              <a:t>Most favored open source creative development frameworks such</a:t>
            </a:r>
          </a:p>
        </p:txBody>
      </p:sp>
      <p:sp>
        <p:nvSpPr>
          <p:cNvPr id="22" name="Freeform 21"/>
          <p:cNvSpPr/>
          <p:nvPr/>
        </p:nvSpPr>
        <p:spPr bwMode="auto">
          <a:xfrm>
            <a:off x="808323" y="1247575"/>
            <a:ext cx="480225" cy="525949"/>
          </a:xfrm>
          <a:custGeom>
            <a:avLst/>
            <a:gdLst/>
            <a:ahLst/>
            <a:cxnLst/>
            <a:rect l="l" t="t" r="r" b="b"/>
            <a:pathLst>
              <a:path w="3677434" h="4027562">
                <a:moveTo>
                  <a:pt x="1307256" y="0"/>
                </a:moveTo>
                <a:cubicBezTo>
                  <a:pt x="1428137" y="0"/>
                  <a:pt x="1526130" y="97993"/>
                  <a:pt x="1526130" y="218873"/>
                </a:cubicBezTo>
                <a:cubicBezTo>
                  <a:pt x="1526130" y="298305"/>
                  <a:pt x="1483817" y="367853"/>
                  <a:pt x="1420097" y="405541"/>
                </a:cubicBezTo>
                <a:cubicBezTo>
                  <a:pt x="1470746" y="413433"/>
                  <a:pt x="1540121" y="471213"/>
                  <a:pt x="1570688" y="508608"/>
                </a:cubicBezTo>
                <a:cubicBezTo>
                  <a:pt x="1601255" y="546004"/>
                  <a:pt x="1676414" y="769295"/>
                  <a:pt x="1595382" y="898190"/>
                </a:cubicBezTo>
                <a:cubicBezTo>
                  <a:pt x="1569427" y="927511"/>
                  <a:pt x="1531476" y="948430"/>
                  <a:pt x="1486507" y="960736"/>
                </a:cubicBezTo>
                <a:lnTo>
                  <a:pt x="1686382" y="1509889"/>
                </a:lnTo>
                <a:cubicBezTo>
                  <a:pt x="1721877" y="1477078"/>
                  <a:pt x="1769625" y="1458958"/>
                  <a:pt x="1821606" y="1458958"/>
                </a:cubicBezTo>
                <a:cubicBezTo>
                  <a:pt x="1890015" y="1458958"/>
                  <a:pt x="1951094" y="1490342"/>
                  <a:pt x="1988794" y="1541486"/>
                </a:cubicBezTo>
                <a:lnTo>
                  <a:pt x="2357185" y="785953"/>
                </a:lnTo>
                <a:cubicBezTo>
                  <a:pt x="2347819" y="781476"/>
                  <a:pt x="2339796" y="776069"/>
                  <a:pt x="2333171" y="770249"/>
                </a:cubicBezTo>
                <a:cubicBezTo>
                  <a:pt x="2327893" y="741515"/>
                  <a:pt x="2327893" y="735651"/>
                  <a:pt x="2326134" y="710436"/>
                </a:cubicBezTo>
                <a:lnTo>
                  <a:pt x="2301505" y="750898"/>
                </a:lnTo>
                <a:cubicBezTo>
                  <a:pt x="2284468" y="737268"/>
                  <a:pt x="2302080" y="550388"/>
                  <a:pt x="2421625" y="511960"/>
                </a:cubicBezTo>
                <a:cubicBezTo>
                  <a:pt x="2392358" y="491353"/>
                  <a:pt x="2373376" y="457265"/>
                  <a:pt x="2373376" y="418744"/>
                </a:cubicBezTo>
                <a:cubicBezTo>
                  <a:pt x="2373376" y="355372"/>
                  <a:pt x="2424749" y="303999"/>
                  <a:pt x="2488121" y="303999"/>
                </a:cubicBezTo>
                <a:cubicBezTo>
                  <a:pt x="2551493" y="303999"/>
                  <a:pt x="2602866" y="355372"/>
                  <a:pt x="2602866" y="418744"/>
                </a:cubicBezTo>
                <a:cubicBezTo>
                  <a:pt x="2602866" y="460386"/>
                  <a:pt x="2580684" y="496847"/>
                  <a:pt x="2547279" y="516605"/>
                </a:cubicBezTo>
                <a:cubicBezTo>
                  <a:pt x="2573831" y="520742"/>
                  <a:pt x="2610201" y="551034"/>
                  <a:pt x="2626226" y="570638"/>
                </a:cubicBezTo>
                <a:cubicBezTo>
                  <a:pt x="2642251" y="590243"/>
                  <a:pt x="2681653" y="707304"/>
                  <a:pt x="2639172" y="774878"/>
                </a:cubicBezTo>
                <a:cubicBezTo>
                  <a:pt x="2602273" y="816562"/>
                  <a:pt x="2519130" y="825854"/>
                  <a:pt x="2446400" y="811622"/>
                </a:cubicBezTo>
                <a:lnTo>
                  <a:pt x="2037664" y="1649898"/>
                </a:lnTo>
                <a:cubicBezTo>
                  <a:pt x="2039873" y="1658955"/>
                  <a:pt x="2040480" y="1668322"/>
                  <a:pt x="2040480" y="1677831"/>
                </a:cubicBezTo>
                <a:cubicBezTo>
                  <a:pt x="2040480" y="1757263"/>
                  <a:pt x="1998167" y="1826812"/>
                  <a:pt x="1934447" y="1864499"/>
                </a:cubicBezTo>
                <a:cubicBezTo>
                  <a:pt x="1963809" y="1869074"/>
                  <a:pt x="1999464" y="1890415"/>
                  <a:pt x="2029802" y="1915337"/>
                </a:cubicBezTo>
                <a:lnTo>
                  <a:pt x="3039149" y="1547964"/>
                </a:lnTo>
                <a:cubicBezTo>
                  <a:pt x="3075547" y="1467519"/>
                  <a:pt x="3135455" y="1393688"/>
                  <a:pt x="3226059" y="1364564"/>
                </a:cubicBezTo>
                <a:cubicBezTo>
                  <a:pt x="3170234" y="1325256"/>
                  <a:pt x="3134025" y="1260234"/>
                  <a:pt x="3134025" y="1186755"/>
                </a:cubicBezTo>
                <a:cubicBezTo>
                  <a:pt x="3134025" y="1065875"/>
                  <a:pt x="3232018" y="967882"/>
                  <a:pt x="3352899" y="967882"/>
                </a:cubicBezTo>
                <a:cubicBezTo>
                  <a:pt x="3473780" y="967882"/>
                  <a:pt x="3571773" y="1065875"/>
                  <a:pt x="3571773" y="1186755"/>
                </a:cubicBezTo>
                <a:cubicBezTo>
                  <a:pt x="3571773" y="1266186"/>
                  <a:pt x="3529461" y="1335735"/>
                  <a:pt x="3465740" y="1373423"/>
                </a:cubicBezTo>
                <a:cubicBezTo>
                  <a:pt x="3516389" y="1381315"/>
                  <a:pt x="3585764" y="1439095"/>
                  <a:pt x="3616331" y="1476491"/>
                </a:cubicBezTo>
                <a:cubicBezTo>
                  <a:pt x="3646898" y="1513886"/>
                  <a:pt x="3722057" y="1737178"/>
                  <a:pt x="3641025" y="1866073"/>
                </a:cubicBezTo>
                <a:cubicBezTo>
                  <a:pt x="3525999" y="1996014"/>
                  <a:pt x="3175389" y="1960935"/>
                  <a:pt x="3057335" y="1857244"/>
                </a:cubicBezTo>
                <a:cubicBezTo>
                  <a:pt x="3047268" y="1802435"/>
                  <a:pt x="3047268" y="1791249"/>
                  <a:pt x="3043912" y="1743152"/>
                </a:cubicBezTo>
                <a:lnTo>
                  <a:pt x="2996933" y="1820331"/>
                </a:lnTo>
                <a:cubicBezTo>
                  <a:pt x="2983319" y="1809439"/>
                  <a:pt x="2981304" y="1740547"/>
                  <a:pt x="3001382" y="1659019"/>
                </a:cubicBezTo>
                <a:lnTo>
                  <a:pt x="2097220" y="1988107"/>
                </a:lnTo>
                <a:cubicBezTo>
                  <a:pt x="2113092" y="2019983"/>
                  <a:pt x="2132508" y="2077946"/>
                  <a:pt x="2140369" y="2142389"/>
                </a:cubicBezTo>
                <a:lnTo>
                  <a:pt x="3176712" y="2625643"/>
                </a:lnTo>
                <a:cubicBezTo>
                  <a:pt x="3181516" y="2621308"/>
                  <a:pt x="3187367" y="2618952"/>
                  <a:pt x="3193485" y="2616986"/>
                </a:cubicBezTo>
                <a:cubicBezTo>
                  <a:pt x="3164218" y="2596379"/>
                  <a:pt x="3145236" y="2562291"/>
                  <a:pt x="3145236" y="2523769"/>
                </a:cubicBezTo>
                <a:cubicBezTo>
                  <a:pt x="3145236" y="2460397"/>
                  <a:pt x="3196609" y="2409024"/>
                  <a:pt x="3259981" y="2409024"/>
                </a:cubicBezTo>
                <a:cubicBezTo>
                  <a:pt x="3323353" y="2409024"/>
                  <a:pt x="3374726" y="2460397"/>
                  <a:pt x="3374726" y="2523769"/>
                </a:cubicBezTo>
                <a:cubicBezTo>
                  <a:pt x="3374726" y="2565411"/>
                  <a:pt x="3352544" y="2601873"/>
                  <a:pt x="3319139" y="2621630"/>
                </a:cubicBezTo>
                <a:cubicBezTo>
                  <a:pt x="3345691" y="2625768"/>
                  <a:pt x="3382061" y="2656059"/>
                  <a:pt x="3398086" y="2675664"/>
                </a:cubicBezTo>
                <a:cubicBezTo>
                  <a:pt x="3414111" y="2695268"/>
                  <a:pt x="3453513" y="2812330"/>
                  <a:pt x="3411032" y="2879903"/>
                </a:cubicBezTo>
                <a:cubicBezTo>
                  <a:pt x="3350729" y="2948025"/>
                  <a:pt x="3166921" y="2929635"/>
                  <a:pt x="3105031" y="2875274"/>
                </a:cubicBezTo>
                <a:cubicBezTo>
                  <a:pt x="3099753" y="2846541"/>
                  <a:pt x="3099753" y="2840677"/>
                  <a:pt x="3097994" y="2815461"/>
                </a:cubicBezTo>
                <a:lnTo>
                  <a:pt x="3073365" y="2855923"/>
                </a:lnTo>
                <a:cubicBezTo>
                  <a:pt x="3062017" y="2846844"/>
                  <a:pt x="3066042" y="2760895"/>
                  <a:pt x="3106153" y="2693634"/>
                </a:cubicBezTo>
                <a:lnTo>
                  <a:pt x="2143762" y="2244864"/>
                </a:lnTo>
                <a:cubicBezTo>
                  <a:pt x="2140875" y="2285376"/>
                  <a:pt x="2130368" y="2324323"/>
                  <a:pt x="2109732" y="2357149"/>
                </a:cubicBezTo>
                <a:cubicBezTo>
                  <a:pt x="2084064" y="2386144"/>
                  <a:pt x="2046666" y="2406923"/>
                  <a:pt x="2002299" y="2419140"/>
                </a:cubicBezTo>
                <a:lnTo>
                  <a:pt x="2228511" y="3076107"/>
                </a:lnTo>
                <a:cubicBezTo>
                  <a:pt x="2258487" y="3055505"/>
                  <a:pt x="2294927" y="3045410"/>
                  <a:pt x="2333724" y="3045410"/>
                </a:cubicBezTo>
                <a:cubicBezTo>
                  <a:pt x="2454605" y="3045410"/>
                  <a:pt x="2552598" y="3143403"/>
                  <a:pt x="2552598" y="3264283"/>
                </a:cubicBezTo>
                <a:cubicBezTo>
                  <a:pt x="2552598" y="3343715"/>
                  <a:pt x="2510286" y="3413264"/>
                  <a:pt x="2446565" y="3450951"/>
                </a:cubicBezTo>
                <a:cubicBezTo>
                  <a:pt x="2497214" y="3458843"/>
                  <a:pt x="2566589" y="3516624"/>
                  <a:pt x="2597156" y="3554019"/>
                </a:cubicBezTo>
                <a:cubicBezTo>
                  <a:pt x="2627723" y="3591414"/>
                  <a:pt x="2702882" y="3814706"/>
                  <a:pt x="2621850" y="3943601"/>
                </a:cubicBezTo>
                <a:cubicBezTo>
                  <a:pt x="2506824" y="4073542"/>
                  <a:pt x="2156214" y="4038463"/>
                  <a:pt x="2038160" y="3934772"/>
                </a:cubicBezTo>
                <a:cubicBezTo>
                  <a:pt x="2028093" y="3879963"/>
                  <a:pt x="2028093" y="3868777"/>
                  <a:pt x="2024737" y="3820680"/>
                </a:cubicBezTo>
                <a:lnTo>
                  <a:pt x="1977758" y="3897859"/>
                </a:lnTo>
                <a:cubicBezTo>
                  <a:pt x="1945260" y="3871861"/>
                  <a:pt x="1978856" y="3515391"/>
                  <a:pt x="2206884" y="3442092"/>
                </a:cubicBezTo>
                <a:cubicBezTo>
                  <a:pt x="2151059" y="3402784"/>
                  <a:pt x="2114850" y="3337762"/>
                  <a:pt x="2114850" y="3264283"/>
                </a:cubicBezTo>
                <a:cubicBezTo>
                  <a:pt x="2114850" y="3219103"/>
                  <a:pt x="2128539" y="3177121"/>
                  <a:pt x="2155358" y="3144519"/>
                </a:cubicBezTo>
                <a:lnTo>
                  <a:pt x="1911990" y="2437728"/>
                </a:lnTo>
                <a:cubicBezTo>
                  <a:pt x="1834923" y="2445596"/>
                  <a:pt x="1750253" y="2438049"/>
                  <a:pt x="1677214" y="2417818"/>
                </a:cubicBezTo>
                <a:lnTo>
                  <a:pt x="1247518" y="3339303"/>
                </a:lnTo>
                <a:cubicBezTo>
                  <a:pt x="1247633" y="3339492"/>
                  <a:pt x="1247633" y="3339682"/>
                  <a:pt x="1247633" y="3339872"/>
                </a:cubicBezTo>
                <a:cubicBezTo>
                  <a:pt x="1247633" y="3381514"/>
                  <a:pt x="1225451" y="3417976"/>
                  <a:pt x="1192045" y="3437733"/>
                </a:cubicBezTo>
                <a:cubicBezTo>
                  <a:pt x="1218598" y="3441871"/>
                  <a:pt x="1254968" y="3472162"/>
                  <a:pt x="1270993" y="3491767"/>
                </a:cubicBezTo>
                <a:cubicBezTo>
                  <a:pt x="1287018" y="3511371"/>
                  <a:pt x="1326420" y="3628433"/>
                  <a:pt x="1283939" y="3696006"/>
                </a:cubicBezTo>
                <a:cubicBezTo>
                  <a:pt x="1223636" y="3764128"/>
                  <a:pt x="1039828" y="3745738"/>
                  <a:pt x="977938" y="3691377"/>
                </a:cubicBezTo>
                <a:cubicBezTo>
                  <a:pt x="972660" y="3662644"/>
                  <a:pt x="972660" y="3656780"/>
                  <a:pt x="970901" y="3631564"/>
                </a:cubicBezTo>
                <a:lnTo>
                  <a:pt x="946272" y="3672026"/>
                </a:lnTo>
                <a:cubicBezTo>
                  <a:pt x="929235" y="3658396"/>
                  <a:pt x="946847" y="3471516"/>
                  <a:pt x="1066392" y="3433089"/>
                </a:cubicBezTo>
                <a:cubicBezTo>
                  <a:pt x="1037125" y="3412482"/>
                  <a:pt x="1018143" y="3378394"/>
                  <a:pt x="1018143" y="3339872"/>
                </a:cubicBezTo>
                <a:cubicBezTo>
                  <a:pt x="1018143" y="3276500"/>
                  <a:pt x="1069516" y="3225127"/>
                  <a:pt x="1132888" y="3225127"/>
                </a:cubicBezTo>
                <a:cubicBezTo>
                  <a:pt x="1154663" y="3225127"/>
                  <a:pt x="1175022" y="3231193"/>
                  <a:pt x="1191330" y="3243434"/>
                </a:cubicBezTo>
                <a:lnTo>
                  <a:pt x="1590177" y="2388104"/>
                </a:lnTo>
                <a:cubicBezTo>
                  <a:pt x="1564796" y="2376718"/>
                  <a:pt x="1543016" y="2363228"/>
                  <a:pt x="1526042" y="2348320"/>
                </a:cubicBezTo>
                <a:cubicBezTo>
                  <a:pt x="1515975" y="2293511"/>
                  <a:pt x="1515975" y="2282325"/>
                  <a:pt x="1512619" y="2234228"/>
                </a:cubicBezTo>
                <a:lnTo>
                  <a:pt x="1465640" y="2311407"/>
                </a:lnTo>
                <a:cubicBezTo>
                  <a:pt x="1455236" y="2303084"/>
                  <a:pt x="1451606" y="2260892"/>
                  <a:pt x="1459554" y="2205065"/>
                </a:cubicBezTo>
                <a:lnTo>
                  <a:pt x="580991" y="2524836"/>
                </a:lnTo>
                <a:cubicBezTo>
                  <a:pt x="601118" y="2540510"/>
                  <a:pt x="618332" y="2557660"/>
                  <a:pt x="629945" y="2571867"/>
                </a:cubicBezTo>
                <a:cubicBezTo>
                  <a:pt x="660512" y="2609262"/>
                  <a:pt x="735671" y="2832554"/>
                  <a:pt x="654639" y="2961449"/>
                </a:cubicBezTo>
                <a:cubicBezTo>
                  <a:pt x="539612" y="3091390"/>
                  <a:pt x="189003" y="3056311"/>
                  <a:pt x="70949" y="2952620"/>
                </a:cubicBezTo>
                <a:cubicBezTo>
                  <a:pt x="60882" y="2897811"/>
                  <a:pt x="60882" y="2886625"/>
                  <a:pt x="57526" y="2838528"/>
                </a:cubicBezTo>
                <a:lnTo>
                  <a:pt x="10547" y="2915707"/>
                </a:lnTo>
                <a:cubicBezTo>
                  <a:pt x="-21951" y="2889709"/>
                  <a:pt x="11644" y="2533239"/>
                  <a:pt x="239673" y="2459940"/>
                </a:cubicBezTo>
                <a:cubicBezTo>
                  <a:pt x="183847" y="2420632"/>
                  <a:pt x="147639" y="2355610"/>
                  <a:pt x="147639" y="2282131"/>
                </a:cubicBezTo>
                <a:cubicBezTo>
                  <a:pt x="147639" y="2161251"/>
                  <a:pt x="245632" y="2063258"/>
                  <a:pt x="366513" y="2063258"/>
                </a:cubicBezTo>
                <a:cubicBezTo>
                  <a:pt x="487394" y="2063258"/>
                  <a:pt x="585387" y="2161251"/>
                  <a:pt x="585387" y="2282131"/>
                </a:cubicBezTo>
                <a:cubicBezTo>
                  <a:pt x="585387" y="2356899"/>
                  <a:pt x="547897" y="2422911"/>
                  <a:pt x="489636" y="2460778"/>
                </a:cubicBezTo>
                <a:lnTo>
                  <a:pt x="1486575" y="2097922"/>
                </a:lnTo>
                <a:cubicBezTo>
                  <a:pt x="1500979" y="2046319"/>
                  <a:pt x="1526135" y="1994380"/>
                  <a:pt x="1561529" y="1950844"/>
                </a:cubicBezTo>
                <a:lnTo>
                  <a:pt x="494780" y="1453411"/>
                </a:lnTo>
                <a:cubicBezTo>
                  <a:pt x="426122" y="1509356"/>
                  <a:pt x="259835" y="1490058"/>
                  <a:pt x="201577" y="1438887"/>
                </a:cubicBezTo>
                <a:cubicBezTo>
                  <a:pt x="196299" y="1410153"/>
                  <a:pt x="196299" y="1404289"/>
                  <a:pt x="194540" y="1379074"/>
                </a:cubicBezTo>
                <a:lnTo>
                  <a:pt x="169911" y="1419536"/>
                </a:lnTo>
                <a:cubicBezTo>
                  <a:pt x="152874" y="1405906"/>
                  <a:pt x="170486" y="1219026"/>
                  <a:pt x="290031" y="1180598"/>
                </a:cubicBezTo>
                <a:cubicBezTo>
                  <a:pt x="260764" y="1159991"/>
                  <a:pt x="241782" y="1125903"/>
                  <a:pt x="241782" y="1087382"/>
                </a:cubicBezTo>
                <a:cubicBezTo>
                  <a:pt x="241782" y="1024010"/>
                  <a:pt x="293155" y="972637"/>
                  <a:pt x="356527" y="972637"/>
                </a:cubicBezTo>
                <a:cubicBezTo>
                  <a:pt x="419899" y="972637"/>
                  <a:pt x="471272" y="1024010"/>
                  <a:pt x="471272" y="1087382"/>
                </a:cubicBezTo>
                <a:cubicBezTo>
                  <a:pt x="471272" y="1129024"/>
                  <a:pt x="449090" y="1165485"/>
                  <a:pt x="415684" y="1185243"/>
                </a:cubicBezTo>
                <a:cubicBezTo>
                  <a:pt x="442237" y="1189380"/>
                  <a:pt x="478607" y="1219672"/>
                  <a:pt x="494632" y="1239276"/>
                </a:cubicBezTo>
                <a:cubicBezTo>
                  <a:pt x="505422" y="1252476"/>
                  <a:pt x="526809" y="1309858"/>
                  <a:pt x="524901" y="1366563"/>
                </a:cubicBezTo>
                <a:lnTo>
                  <a:pt x="1637318" y="1885292"/>
                </a:lnTo>
                <a:cubicBezTo>
                  <a:pt x="1653909" y="1871782"/>
                  <a:pt x="1673492" y="1862479"/>
                  <a:pt x="1694766" y="1855640"/>
                </a:cubicBezTo>
                <a:cubicBezTo>
                  <a:pt x="1638941" y="1816332"/>
                  <a:pt x="1602732" y="1751310"/>
                  <a:pt x="1602732" y="1677831"/>
                </a:cubicBezTo>
                <a:cubicBezTo>
                  <a:pt x="1602732" y="1648017"/>
                  <a:pt x="1608693" y="1619595"/>
                  <a:pt x="1619591" y="1593735"/>
                </a:cubicBezTo>
                <a:lnTo>
                  <a:pt x="1395870" y="979067"/>
                </a:lnTo>
                <a:cubicBezTo>
                  <a:pt x="1253715" y="993002"/>
                  <a:pt x="1086283" y="954878"/>
                  <a:pt x="1011692" y="889361"/>
                </a:cubicBezTo>
                <a:cubicBezTo>
                  <a:pt x="1001625" y="834552"/>
                  <a:pt x="1001625" y="823367"/>
                  <a:pt x="998269" y="775269"/>
                </a:cubicBezTo>
                <a:lnTo>
                  <a:pt x="951290" y="852449"/>
                </a:lnTo>
                <a:cubicBezTo>
                  <a:pt x="918792" y="826451"/>
                  <a:pt x="952387" y="469981"/>
                  <a:pt x="1180416" y="396682"/>
                </a:cubicBezTo>
                <a:cubicBezTo>
                  <a:pt x="1124590" y="357374"/>
                  <a:pt x="1088382" y="292352"/>
                  <a:pt x="1088382" y="218873"/>
                </a:cubicBezTo>
                <a:cubicBezTo>
                  <a:pt x="1088382" y="97993"/>
                  <a:pt x="1186375" y="0"/>
                  <a:pt x="130725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5" name="Freeform 24"/>
          <p:cNvSpPr/>
          <p:nvPr/>
        </p:nvSpPr>
        <p:spPr bwMode="auto">
          <a:xfrm>
            <a:off x="760799" y="1927680"/>
            <a:ext cx="575272" cy="549179"/>
          </a:xfrm>
          <a:custGeom>
            <a:avLst/>
            <a:gdLst/>
            <a:ahLst/>
            <a:cxnLst/>
            <a:rect l="l" t="t" r="r" b="b"/>
            <a:pathLst>
              <a:path w="5186366" h="4951126">
                <a:moveTo>
                  <a:pt x="3703335" y="4594117"/>
                </a:moveTo>
                <a:cubicBezTo>
                  <a:pt x="3692341" y="4594117"/>
                  <a:pt x="3683430" y="4603029"/>
                  <a:pt x="3683430" y="4614022"/>
                </a:cubicBezTo>
                <a:cubicBezTo>
                  <a:pt x="3683430" y="4625016"/>
                  <a:pt x="3692341" y="4633927"/>
                  <a:pt x="3703335" y="4633927"/>
                </a:cubicBezTo>
                <a:cubicBezTo>
                  <a:pt x="3714328" y="4633927"/>
                  <a:pt x="3723240" y="4625016"/>
                  <a:pt x="3723240" y="4614022"/>
                </a:cubicBezTo>
                <a:cubicBezTo>
                  <a:pt x="3723240" y="4603029"/>
                  <a:pt x="3714328" y="4594117"/>
                  <a:pt x="3703335" y="4594117"/>
                </a:cubicBezTo>
                <a:close/>
                <a:moveTo>
                  <a:pt x="4033273" y="4405295"/>
                </a:moveTo>
                <a:lnTo>
                  <a:pt x="4058989" y="4411725"/>
                </a:lnTo>
                <a:cubicBezTo>
                  <a:pt x="4058613" y="4495150"/>
                  <a:pt x="4057904" y="4572688"/>
                  <a:pt x="4057401" y="4612783"/>
                </a:cubicBezTo>
                <a:cubicBezTo>
                  <a:pt x="3965517" y="4688784"/>
                  <a:pt x="3906606" y="4728593"/>
                  <a:pt x="3872828" y="4733418"/>
                </a:cubicBezTo>
                <a:cubicBezTo>
                  <a:pt x="3839051" y="4738243"/>
                  <a:pt x="3646032" y="4718942"/>
                  <a:pt x="3530222" y="4702053"/>
                </a:cubicBezTo>
                <a:cubicBezTo>
                  <a:pt x="3530054" y="4622715"/>
                  <a:pt x="3529886" y="4543376"/>
                  <a:pt x="3529718" y="4464037"/>
                </a:cubicBezTo>
                <a:lnTo>
                  <a:pt x="3551936" y="4452343"/>
                </a:lnTo>
                <a:cubicBezTo>
                  <a:pt x="3610645" y="4454957"/>
                  <a:pt x="3850511" y="4483105"/>
                  <a:pt x="3877653" y="4477677"/>
                </a:cubicBezTo>
                <a:cubicBezTo>
                  <a:pt x="3904796" y="4472249"/>
                  <a:pt x="4003918" y="4416555"/>
                  <a:pt x="4033273" y="4405295"/>
                </a:cubicBezTo>
                <a:close/>
                <a:moveTo>
                  <a:pt x="1395208" y="4384285"/>
                </a:moveTo>
                <a:cubicBezTo>
                  <a:pt x="1381180" y="4384285"/>
                  <a:pt x="1369809" y="4395656"/>
                  <a:pt x="1369809" y="4409684"/>
                </a:cubicBezTo>
                <a:cubicBezTo>
                  <a:pt x="1369809" y="4423711"/>
                  <a:pt x="1381180" y="4435083"/>
                  <a:pt x="1395208" y="4435083"/>
                </a:cubicBezTo>
                <a:cubicBezTo>
                  <a:pt x="1409235" y="4435083"/>
                  <a:pt x="1420607" y="4423711"/>
                  <a:pt x="1420607" y="4409684"/>
                </a:cubicBezTo>
                <a:cubicBezTo>
                  <a:pt x="1420607" y="4395656"/>
                  <a:pt x="1409235" y="4384285"/>
                  <a:pt x="1395208" y="4384285"/>
                </a:cubicBezTo>
                <a:close/>
                <a:moveTo>
                  <a:pt x="1395208" y="4358886"/>
                </a:moveTo>
                <a:cubicBezTo>
                  <a:pt x="1423263" y="4358886"/>
                  <a:pt x="1446006" y="4381629"/>
                  <a:pt x="1446006" y="4409684"/>
                </a:cubicBezTo>
                <a:cubicBezTo>
                  <a:pt x="1446006" y="4437739"/>
                  <a:pt x="1423263" y="4460482"/>
                  <a:pt x="1395208" y="4460482"/>
                </a:cubicBezTo>
                <a:cubicBezTo>
                  <a:pt x="1367153" y="4460482"/>
                  <a:pt x="1344410" y="4437739"/>
                  <a:pt x="1344410" y="4409684"/>
                </a:cubicBezTo>
                <a:cubicBezTo>
                  <a:pt x="1344410" y="4381629"/>
                  <a:pt x="1367153" y="4358886"/>
                  <a:pt x="1395208" y="4358886"/>
                </a:cubicBezTo>
                <a:close/>
                <a:moveTo>
                  <a:pt x="1395208" y="4338897"/>
                </a:moveTo>
                <a:cubicBezTo>
                  <a:pt x="1356114" y="4338897"/>
                  <a:pt x="1324421" y="4370589"/>
                  <a:pt x="1324421" y="4409684"/>
                </a:cubicBezTo>
                <a:cubicBezTo>
                  <a:pt x="1324421" y="4448779"/>
                  <a:pt x="1356114" y="4480471"/>
                  <a:pt x="1395208" y="4480471"/>
                </a:cubicBezTo>
                <a:cubicBezTo>
                  <a:pt x="1434302" y="4480471"/>
                  <a:pt x="1465995" y="4448779"/>
                  <a:pt x="1465995" y="4409684"/>
                </a:cubicBezTo>
                <a:cubicBezTo>
                  <a:pt x="1465995" y="4370589"/>
                  <a:pt x="1434302" y="4338897"/>
                  <a:pt x="1395208" y="4338897"/>
                </a:cubicBezTo>
                <a:close/>
                <a:moveTo>
                  <a:pt x="4033273" y="4293721"/>
                </a:moveTo>
                <a:lnTo>
                  <a:pt x="4059224" y="4300209"/>
                </a:lnTo>
                <a:cubicBezTo>
                  <a:pt x="4059269" y="4325683"/>
                  <a:pt x="4059210" y="4351929"/>
                  <a:pt x="4059114" y="4378016"/>
                </a:cubicBezTo>
                <a:cubicBezTo>
                  <a:pt x="4025283" y="4396273"/>
                  <a:pt x="3912562" y="4456196"/>
                  <a:pt x="3880066" y="4463201"/>
                </a:cubicBezTo>
                <a:cubicBezTo>
                  <a:pt x="3846835" y="4470364"/>
                  <a:pt x="3590683" y="4440899"/>
                  <a:pt x="3529655" y="4434445"/>
                </a:cubicBezTo>
                <a:cubicBezTo>
                  <a:pt x="3529597" y="4407160"/>
                  <a:pt x="3529539" y="4379873"/>
                  <a:pt x="3529481" y="4352587"/>
                </a:cubicBezTo>
                <a:lnTo>
                  <a:pt x="3551936" y="4340768"/>
                </a:lnTo>
                <a:cubicBezTo>
                  <a:pt x="3610645" y="4343382"/>
                  <a:pt x="3850511" y="4371530"/>
                  <a:pt x="3877653" y="4366102"/>
                </a:cubicBezTo>
                <a:cubicBezTo>
                  <a:pt x="3904796" y="4360674"/>
                  <a:pt x="4003918" y="4304980"/>
                  <a:pt x="4033273" y="4293721"/>
                </a:cubicBezTo>
                <a:close/>
                <a:moveTo>
                  <a:pt x="1395208" y="4291065"/>
                </a:moveTo>
                <a:cubicBezTo>
                  <a:pt x="1401008" y="4291065"/>
                  <a:pt x="1406711" y="4291482"/>
                  <a:pt x="1412269" y="4292418"/>
                </a:cubicBezTo>
                <a:cubicBezTo>
                  <a:pt x="1418221" y="4333065"/>
                  <a:pt x="1458928" y="4324532"/>
                  <a:pt x="1463700" y="4319436"/>
                </a:cubicBezTo>
                <a:lnTo>
                  <a:pt x="1467178" y="4315673"/>
                </a:lnTo>
                <a:cubicBezTo>
                  <a:pt x="1475817" y="4322092"/>
                  <a:pt x="1483422" y="4329798"/>
                  <a:pt x="1489873" y="4338421"/>
                </a:cubicBezTo>
                <a:cubicBezTo>
                  <a:pt x="1465405" y="4377543"/>
                  <a:pt x="1505130" y="4396085"/>
                  <a:pt x="1512838" y="4395092"/>
                </a:cubicBezTo>
                <a:cubicBezTo>
                  <a:pt x="1513524" y="4399866"/>
                  <a:pt x="1513826" y="4404739"/>
                  <a:pt x="1513826" y="4409684"/>
                </a:cubicBezTo>
                <a:cubicBezTo>
                  <a:pt x="1513826" y="4414669"/>
                  <a:pt x="1513518" y="4419583"/>
                  <a:pt x="1512801" y="4424390"/>
                </a:cubicBezTo>
                <a:cubicBezTo>
                  <a:pt x="1511944" y="4424628"/>
                  <a:pt x="1511177" y="4424919"/>
                  <a:pt x="1510509" y="4425255"/>
                </a:cubicBezTo>
                <a:lnTo>
                  <a:pt x="1510465" y="4425245"/>
                </a:lnTo>
                <a:cubicBezTo>
                  <a:pt x="1471922" y="4438483"/>
                  <a:pt x="1482218" y="4470609"/>
                  <a:pt x="1489767" y="4480944"/>
                </a:cubicBezTo>
                <a:cubicBezTo>
                  <a:pt x="1483469" y="4489556"/>
                  <a:pt x="1475901" y="4497158"/>
                  <a:pt x="1467422" y="4503637"/>
                </a:cubicBezTo>
                <a:cubicBezTo>
                  <a:pt x="1429946" y="4481271"/>
                  <a:pt x="1411822" y="4518428"/>
                  <a:pt x="1412164" y="4526953"/>
                </a:cubicBezTo>
                <a:cubicBezTo>
                  <a:pt x="1406640" y="4527891"/>
                  <a:pt x="1400972" y="4528302"/>
                  <a:pt x="1395208" y="4528302"/>
                </a:cubicBezTo>
                <a:cubicBezTo>
                  <a:pt x="1389560" y="4528302"/>
                  <a:pt x="1384004" y="4527908"/>
                  <a:pt x="1378583" y="4527029"/>
                </a:cubicBezTo>
                <a:cubicBezTo>
                  <a:pt x="1367742" y="4485142"/>
                  <a:pt x="1331204" y="4496669"/>
                  <a:pt x="1322909" y="4503444"/>
                </a:cubicBezTo>
                <a:cubicBezTo>
                  <a:pt x="1314354" y="4497039"/>
                  <a:pt x="1306823" y="4489370"/>
                  <a:pt x="1300432" y="4480797"/>
                </a:cubicBezTo>
                <a:cubicBezTo>
                  <a:pt x="1322934" y="4443596"/>
                  <a:pt x="1286943" y="4425334"/>
                  <a:pt x="1277710" y="4425144"/>
                </a:cubicBezTo>
                <a:cubicBezTo>
                  <a:pt x="1276930" y="4420094"/>
                  <a:pt x="1276589" y="4414929"/>
                  <a:pt x="1276589" y="4409684"/>
                </a:cubicBezTo>
                <a:cubicBezTo>
                  <a:pt x="1276589" y="4404508"/>
                  <a:pt x="1276921" y="4399409"/>
                  <a:pt x="1277632" y="4394416"/>
                </a:cubicBezTo>
                <a:cubicBezTo>
                  <a:pt x="1319216" y="4385995"/>
                  <a:pt x="1307463" y="4345259"/>
                  <a:pt x="1301967" y="4340839"/>
                </a:cubicBezTo>
                <a:lnTo>
                  <a:pt x="1299997" y="4339276"/>
                </a:lnTo>
                <a:cubicBezTo>
                  <a:pt x="1306170" y="4330670"/>
                  <a:pt x="1313601" y="4323049"/>
                  <a:pt x="1321934" y="4316523"/>
                </a:cubicBezTo>
                <a:cubicBezTo>
                  <a:pt x="1361204" y="4340813"/>
                  <a:pt x="1379615" y="4300255"/>
                  <a:pt x="1378254" y="4293142"/>
                </a:cubicBezTo>
                <a:lnTo>
                  <a:pt x="1378114" y="4292436"/>
                </a:lnTo>
                <a:cubicBezTo>
                  <a:pt x="1383682" y="4291484"/>
                  <a:pt x="1389396" y="4291065"/>
                  <a:pt x="1395208" y="4291065"/>
                </a:cubicBezTo>
                <a:close/>
                <a:moveTo>
                  <a:pt x="1216003" y="4289516"/>
                </a:moveTo>
                <a:cubicBezTo>
                  <a:pt x="1206697" y="4289516"/>
                  <a:pt x="1199151" y="4297048"/>
                  <a:pt x="1199151" y="4306339"/>
                </a:cubicBezTo>
                <a:cubicBezTo>
                  <a:pt x="1199151" y="4315630"/>
                  <a:pt x="1206697" y="4323161"/>
                  <a:pt x="1216003" y="4323161"/>
                </a:cubicBezTo>
                <a:cubicBezTo>
                  <a:pt x="1225311" y="4323161"/>
                  <a:pt x="1232855" y="4315630"/>
                  <a:pt x="1232855" y="4306339"/>
                </a:cubicBezTo>
                <a:cubicBezTo>
                  <a:pt x="1232855" y="4297048"/>
                  <a:pt x="1225311" y="4289516"/>
                  <a:pt x="1216003" y="4289516"/>
                </a:cubicBezTo>
                <a:close/>
                <a:moveTo>
                  <a:pt x="1216003" y="4272693"/>
                </a:moveTo>
                <a:cubicBezTo>
                  <a:pt x="1234617" y="4272693"/>
                  <a:pt x="1249707" y="4287757"/>
                  <a:pt x="1249707" y="4306339"/>
                </a:cubicBezTo>
                <a:cubicBezTo>
                  <a:pt x="1249707" y="4324920"/>
                  <a:pt x="1234617" y="4339984"/>
                  <a:pt x="1216003" y="4339984"/>
                </a:cubicBezTo>
                <a:cubicBezTo>
                  <a:pt x="1197390" y="4339984"/>
                  <a:pt x="1182300" y="4324920"/>
                  <a:pt x="1182300" y="4306339"/>
                </a:cubicBezTo>
                <a:cubicBezTo>
                  <a:pt x="1182300" y="4287757"/>
                  <a:pt x="1197390" y="4272693"/>
                  <a:pt x="1216003" y="4272693"/>
                </a:cubicBezTo>
                <a:close/>
                <a:moveTo>
                  <a:pt x="1216003" y="4259454"/>
                </a:moveTo>
                <a:cubicBezTo>
                  <a:pt x="1190065" y="4259454"/>
                  <a:pt x="1169038" y="4280445"/>
                  <a:pt x="1169038" y="4306339"/>
                </a:cubicBezTo>
                <a:cubicBezTo>
                  <a:pt x="1169038" y="4332232"/>
                  <a:pt x="1190065" y="4353223"/>
                  <a:pt x="1216003" y="4353223"/>
                </a:cubicBezTo>
                <a:cubicBezTo>
                  <a:pt x="1241942" y="4353223"/>
                  <a:pt x="1262969" y="4332232"/>
                  <a:pt x="1262969" y="4306339"/>
                </a:cubicBezTo>
                <a:cubicBezTo>
                  <a:pt x="1262969" y="4280445"/>
                  <a:pt x="1241942" y="4259454"/>
                  <a:pt x="1216003" y="4259454"/>
                </a:cubicBezTo>
                <a:close/>
                <a:moveTo>
                  <a:pt x="1216003" y="4227774"/>
                </a:moveTo>
                <a:cubicBezTo>
                  <a:pt x="1219852" y="4227774"/>
                  <a:pt x="1223636" y="4228050"/>
                  <a:pt x="1227323" y="4228670"/>
                </a:cubicBezTo>
                <a:cubicBezTo>
                  <a:pt x="1231272" y="4255592"/>
                  <a:pt x="1258281" y="4249940"/>
                  <a:pt x="1261447" y="4246565"/>
                </a:cubicBezTo>
                <a:lnTo>
                  <a:pt x="1263754" y="4244072"/>
                </a:lnTo>
                <a:cubicBezTo>
                  <a:pt x="1269487" y="4248324"/>
                  <a:pt x="1274532" y="4253427"/>
                  <a:pt x="1278812" y="4259139"/>
                </a:cubicBezTo>
                <a:cubicBezTo>
                  <a:pt x="1262578" y="4285051"/>
                  <a:pt x="1288935" y="4297332"/>
                  <a:pt x="1294049" y="4296674"/>
                </a:cubicBezTo>
                <a:cubicBezTo>
                  <a:pt x="1294504" y="4299836"/>
                  <a:pt x="1294705" y="4303064"/>
                  <a:pt x="1294705" y="4306339"/>
                </a:cubicBezTo>
                <a:cubicBezTo>
                  <a:pt x="1294705" y="4309641"/>
                  <a:pt x="1294501" y="4312895"/>
                  <a:pt x="1294024" y="4316079"/>
                </a:cubicBezTo>
                <a:cubicBezTo>
                  <a:pt x="1293456" y="4316237"/>
                  <a:pt x="1292947" y="4316430"/>
                  <a:pt x="1292504" y="4316652"/>
                </a:cubicBezTo>
                <a:lnTo>
                  <a:pt x="1292475" y="4316645"/>
                </a:lnTo>
                <a:cubicBezTo>
                  <a:pt x="1266902" y="4325414"/>
                  <a:pt x="1273733" y="4346692"/>
                  <a:pt x="1278742" y="4353536"/>
                </a:cubicBezTo>
                <a:cubicBezTo>
                  <a:pt x="1274564" y="4359241"/>
                  <a:pt x="1269542" y="4364276"/>
                  <a:pt x="1263917" y="4368567"/>
                </a:cubicBezTo>
                <a:cubicBezTo>
                  <a:pt x="1239051" y="4353753"/>
                  <a:pt x="1227027" y="4378364"/>
                  <a:pt x="1227253" y="4384010"/>
                </a:cubicBezTo>
                <a:cubicBezTo>
                  <a:pt x="1223589" y="4384631"/>
                  <a:pt x="1219828" y="4384904"/>
                  <a:pt x="1216003" y="4384904"/>
                </a:cubicBezTo>
                <a:cubicBezTo>
                  <a:pt x="1212256" y="4384904"/>
                  <a:pt x="1208570" y="4384642"/>
                  <a:pt x="1204973" y="4384061"/>
                </a:cubicBezTo>
                <a:cubicBezTo>
                  <a:pt x="1197780" y="4356317"/>
                  <a:pt x="1173538" y="4363951"/>
                  <a:pt x="1168034" y="4368439"/>
                </a:cubicBezTo>
                <a:cubicBezTo>
                  <a:pt x="1162358" y="4364197"/>
                  <a:pt x="1157362" y="4359118"/>
                  <a:pt x="1153121" y="4353439"/>
                </a:cubicBezTo>
                <a:cubicBezTo>
                  <a:pt x="1168051" y="4328800"/>
                  <a:pt x="1144172" y="4316705"/>
                  <a:pt x="1138046" y="4316578"/>
                </a:cubicBezTo>
                <a:cubicBezTo>
                  <a:pt x="1137528" y="4313234"/>
                  <a:pt x="1137302" y="4309812"/>
                  <a:pt x="1137302" y="4306339"/>
                </a:cubicBezTo>
                <a:cubicBezTo>
                  <a:pt x="1137302" y="4302910"/>
                  <a:pt x="1137523" y="4299533"/>
                  <a:pt x="1137994" y="4296227"/>
                </a:cubicBezTo>
                <a:cubicBezTo>
                  <a:pt x="1165584" y="4290649"/>
                  <a:pt x="1157787" y="4263668"/>
                  <a:pt x="1154140" y="4260740"/>
                </a:cubicBezTo>
                <a:lnTo>
                  <a:pt x="1152833" y="4259705"/>
                </a:lnTo>
                <a:cubicBezTo>
                  <a:pt x="1156928" y="4254005"/>
                  <a:pt x="1161858" y="4248957"/>
                  <a:pt x="1167388" y="4244635"/>
                </a:cubicBezTo>
                <a:cubicBezTo>
                  <a:pt x="1193442" y="4260724"/>
                  <a:pt x="1205658" y="4233860"/>
                  <a:pt x="1204755" y="4229149"/>
                </a:cubicBezTo>
                <a:lnTo>
                  <a:pt x="1204662" y="4228681"/>
                </a:lnTo>
                <a:cubicBezTo>
                  <a:pt x="1208356" y="4228051"/>
                  <a:pt x="1212147" y="4227774"/>
                  <a:pt x="1216003" y="4227774"/>
                </a:cubicBezTo>
                <a:close/>
                <a:moveTo>
                  <a:pt x="4033273" y="4182145"/>
                </a:moveTo>
                <a:lnTo>
                  <a:pt x="4058819" y="4188532"/>
                </a:lnTo>
                <a:cubicBezTo>
                  <a:pt x="4059062" y="4212035"/>
                  <a:pt x="4059189" y="4238437"/>
                  <a:pt x="4059237" y="4266375"/>
                </a:cubicBezTo>
                <a:cubicBezTo>
                  <a:pt x="4025558" y="4284551"/>
                  <a:pt x="3912602" y="4344612"/>
                  <a:pt x="3880066" y="4351626"/>
                </a:cubicBezTo>
                <a:cubicBezTo>
                  <a:pt x="3846792" y="4358798"/>
                  <a:pt x="3590018" y="4329248"/>
                  <a:pt x="3529419" y="4322845"/>
                </a:cubicBezTo>
                <a:lnTo>
                  <a:pt x="3529245" y="4241136"/>
                </a:lnTo>
                <a:lnTo>
                  <a:pt x="3551936" y="4229193"/>
                </a:lnTo>
                <a:cubicBezTo>
                  <a:pt x="3610645" y="4231807"/>
                  <a:pt x="3850511" y="4259955"/>
                  <a:pt x="3877653" y="4254527"/>
                </a:cubicBezTo>
                <a:cubicBezTo>
                  <a:pt x="3904796" y="4249099"/>
                  <a:pt x="4003918" y="4193405"/>
                  <a:pt x="4033273" y="4182145"/>
                </a:cubicBezTo>
                <a:close/>
                <a:moveTo>
                  <a:pt x="1075816" y="4178957"/>
                </a:moveTo>
                <a:cubicBezTo>
                  <a:pt x="1052021" y="4178957"/>
                  <a:pt x="1032733" y="4198246"/>
                  <a:pt x="1032733" y="4222039"/>
                </a:cubicBezTo>
                <a:lnTo>
                  <a:pt x="1032733" y="4604777"/>
                </a:lnTo>
                <a:cubicBezTo>
                  <a:pt x="1032733" y="4628570"/>
                  <a:pt x="1052021" y="4647859"/>
                  <a:pt x="1075816" y="4647859"/>
                </a:cubicBezTo>
                <a:lnTo>
                  <a:pt x="1575313" y="4647859"/>
                </a:lnTo>
                <a:cubicBezTo>
                  <a:pt x="1599107" y="4647859"/>
                  <a:pt x="1618396" y="4628570"/>
                  <a:pt x="1618396" y="4604777"/>
                </a:cubicBezTo>
                <a:lnTo>
                  <a:pt x="1618396" y="4222039"/>
                </a:lnTo>
                <a:cubicBezTo>
                  <a:pt x="1618396" y="4198246"/>
                  <a:pt x="1599107" y="4178957"/>
                  <a:pt x="1575313" y="4178957"/>
                </a:cubicBezTo>
                <a:close/>
                <a:moveTo>
                  <a:pt x="1055994" y="4151580"/>
                </a:moveTo>
                <a:lnTo>
                  <a:pt x="1595135" y="4151580"/>
                </a:lnTo>
                <a:cubicBezTo>
                  <a:pt x="1626867" y="4151580"/>
                  <a:pt x="1652590" y="4177304"/>
                  <a:pt x="1652590" y="4209035"/>
                </a:cubicBezTo>
                <a:lnTo>
                  <a:pt x="1652590" y="4617781"/>
                </a:lnTo>
                <a:cubicBezTo>
                  <a:pt x="1652590" y="4649513"/>
                  <a:pt x="1626867" y="4675236"/>
                  <a:pt x="1595135" y="4675236"/>
                </a:cubicBezTo>
                <a:lnTo>
                  <a:pt x="1055994" y="4675236"/>
                </a:lnTo>
                <a:cubicBezTo>
                  <a:pt x="1024262" y="4675236"/>
                  <a:pt x="998538" y="4649513"/>
                  <a:pt x="998538" y="4617781"/>
                </a:cubicBezTo>
                <a:lnTo>
                  <a:pt x="998538" y="4209035"/>
                </a:lnTo>
                <a:cubicBezTo>
                  <a:pt x="998538" y="4177304"/>
                  <a:pt x="1024262" y="4151580"/>
                  <a:pt x="1055994" y="4151580"/>
                </a:cubicBezTo>
                <a:close/>
                <a:moveTo>
                  <a:pt x="1485047" y="4118503"/>
                </a:moveTo>
                <a:lnTo>
                  <a:pt x="1485047" y="4123566"/>
                </a:lnTo>
                <a:lnTo>
                  <a:pt x="1514623" y="4123566"/>
                </a:lnTo>
                <a:lnTo>
                  <a:pt x="1514623" y="4118503"/>
                </a:lnTo>
                <a:close/>
                <a:moveTo>
                  <a:pt x="1528841" y="4099370"/>
                </a:moveTo>
                <a:lnTo>
                  <a:pt x="1548470" y="4099370"/>
                </a:lnTo>
                <a:lnTo>
                  <a:pt x="1548470" y="4119072"/>
                </a:lnTo>
                <a:lnTo>
                  <a:pt x="1528841" y="4119072"/>
                </a:lnTo>
                <a:close/>
                <a:moveTo>
                  <a:pt x="1524312" y="4094877"/>
                </a:moveTo>
                <a:lnTo>
                  <a:pt x="1524312" y="4123566"/>
                </a:lnTo>
                <a:lnTo>
                  <a:pt x="1553000" y="4123566"/>
                </a:lnTo>
                <a:lnTo>
                  <a:pt x="1553000" y="4094877"/>
                </a:lnTo>
                <a:close/>
                <a:moveTo>
                  <a:pt x="1564992" y="4094434"/>
                </a:moveTo>
                <a:lnTo>
                  <a:pt x="1578412" y="4109024"/>
                </a:lnTo>
                <a:lnTo>
                  <a:pt x="1565036" y="4123566"/>
                </a:lnTo>
                <a:lnTo>
                  <a:pt x="1572776" y="4123566"/>
                </a:lnTo>
                <a:lnTo>
                  <a:pt x="1582283" y="4113231"/>
                </a:lnTo>
                <a:lnTo>
                  <a:pt x="1591790" y="4123566"/>
                </a:lnTo>
                <a:lnTo>
                  <a:pt x="1599531" y="4123566"/>
                </a:lnTo>
                <a:lnTo>
                  <a:pt x="1586154" y="4109024"/>
                </a:lnTo>
                <a:lnTo>
                  <a:pt x="1599574" y="4094434"/>
                </a:lnTo>
                <a:lnTo>
                  <a:pt x="1591833" y="4094434"/>
                </a:lnTo>
                <a:lnTo>
                  <a:pt x="1582283" y="4104816"/>
                </a:lnTo>
                <a:lnTo>
                  <a:pt x="1572734" y="4094434"/>
                </a:lnTo>
                <a:close/>
                <a:moveTo>
                  <a:pt x="1029830" y="4080840"/>
                </a:moveTo>
                <a:lnTo>
                  <a:pt x="1621299" y="4080840"/>
                </a:lnTo>
                <a:cubicBezTo>
                  <a:pt x="1638581" y="4080840"/>
                  <a:pt x="1652590" y="4094850"/>
                  <a:pt x="1652590" y="4112131"/>
                </a:cubicBezTo>
                <a:lnTo>
                  <a:pt x="1652590" y="4161525"/>
                </a:lnTo>
                <a:cubicBezTo>
                  <a:pt x="1642272" y="4147209"/>
                  <a:pt x="1625426" y="4137986"/>
                  <a:pt x="1606427" y="4137986"/>
                </a:cubicBezTo>
                <a:lnTo>
                  <a:pt x="1044702" y="4137986"/>
                </a:lnTo>
                <a:cubicBezTo>
                  <a:pt x="1025702" y="4137986"/>
                  <a:pt x="1008857" y="4147209"/>
                  <a:pt x="998538" y="4161525"/>
                </a:cubicBezTo>
                <a:lnTo>
                  <a:pt x="998538" y="4112131"/>
                </a:lnTo>
                <a:cubicBezTo>
                  <a:pt x="998538" y="4094850"/>
                  <a:pt x="1012548" y="4080840"/>
                  <a:pt x="1029830" y="4080840"/>
                </a:cubicBezTo>
                <a:close/>
                <a:moveTo>
                  <a:pt x="3736752" y="4065495"/>
                </a:moveTo>
                <a:cubicBezTo>
                  <a:pt x="3824128" y="4065959"/>
                  <a:pt x="4049007" y="4081684"/>
                  <a:pt x="4054988" y="4088017"/>
                </a:cubicBezTo>
                <a:cubicBezTo>
                  <a:pt x="4056669" y="4089796"/>
                  <a:pt x="4057754" y="4115632"/>
                  <a:pt x="4058386" y="4155257"/>
                </a:cubicBezTo>
                <a:cubicBezTo>
                  <a:pt x="4023698" y="4173965"/>
                  <a:pt x="3912333" y="4233095"/>
                  <a:pt x="3880066" y="4240051"/>
                </a:cubicBezTo>
                <a:cubicBezTo>
                  <a:pt x="3846749" y="4247232"/>
                  <a:pt x="3589347" y="4217595"/>
                  <a:pt x="3529182" y="4211245"/>
                </a:cubicBezTo>
                <a:cubicBezTo>
                  <a:pt x="3529391" y="4185047"/>
                  <a:pt x="3529238" y="4158849"/>
                  <a:pt x="3529015" y="4132652"/>
                </a:cubicBezTo>
                <a:cubicBezTo>
                  <a:pt x="3623513" y="4095857"/>
                  <a:pt x="3662118" y="4071328"/>
                  <a:pt x="3708763" y="4066302"/>
                </a:cubicBezTo>
                <a:cubicBezTo>
                  <a:pt x="3714595" y="4065674"/>
                  <a:pt x="3724270" y="4065428"/>
                  <a:pt x="3736752" y="4065495"/>
                </a:cubicBezTo>
                <a:close/>
                <a:moveTo>
                  <a:pt x="3794127" y="3875081"/>
                </a:moveTo>
                <a:cubicBezTo>
                  <a:pt x="3511091" y="3875081"/>
                  <a:pt x="3281645" y="4104527"/>
                  <a:pt x="3281645" y="4387563"/>
                </a:cubicBezTo>
                <a:cubicBezTo>
                  <a:pt x="3281645" y="4670599"/>
                  <a:pt x="3511091" y="4900045"/>
                  <a:pt x="3794127" y="4900045"/>
                </a:cubicBezTo>
                <a:cubicBezTo>
                  <a:pt x="4077163" y="4900045"/>
                  <a:pt x="4306609" y="4670599"/>
                  <a:pt x="4306609" y="4387563"/>
                </a:cubicBezTo>
                <a:cubicBezTo>
                  <a:pt x="4306609" y="4104527"/>
                  <a:pt x="4077163" y="3875081"/>
                  <a:pt x="3794127" y="3875081"/>
                </a:cubicBezTo>
                <a:close/>
                <a:moveTo>
                  <a:pt x="1325564" y="3865556"/>
                </a:moveTo>
                <a:cubicBezTo>
                  <a:pt x="1042528" y="3865556"/>
                  <a:pt x="813082" y="4095002"/>
                  <a:pt x="813082" y="4378038"/>
                </a:cubicBezTo>
                <a:cubicBezTo>
                  <a:pt x="813082" y="4661074"/>
                  <a:pt x="1042528" y="4890520"/>
                  <a:pt x="1325564" y="4890520"/>
                </a:cubicBezTo>
                <a:cubicBezTo>
                  <a:pt x="1608600" y="4890520"/>
                  <a:pt x="1838046" y="4661074"/>
                  <a:pt x="1838046" y="4378038"/>
                </a:cubicBezTo>
                <a:cubicBezTo>
                  <a:pt x="1838046" y="4095002"/>
                  <a:pt x="1608600" y="3865556"/>
                  <a:pt x="1325564" y="3865556"/>
                </a:cubicBezTo>
                <a:close/>
                <a:moveTo>
                  <a:pt x="2726076" y="2381316"/>
                </a:moveTo>
                <a:lnTo>
                  <a:pt x="2753270" y="2384913"/>
                </a:lnTo>
                <a:lnTo>
                  <a:pt x="2741709" y="2472320"/>
                </a:lnTo>
                <a:lnTo>
                  <a:pt x="2759873" y="2475564"/>
                </a:lnTo>
                <a:lnTo>
                  <a:pt x="2750348" y="2558908"/>
                </a:lnTo>
                <a:lnTo>
                  <a:pt x="2681292" y="2544620"/>
                </a:lnTo>
                <a:lnTo>
                  <a:pt x="2693198" y="2463658"/>
                </a:lnTo>
                <a:lnTo>
                  <a:pt x="2714677" y="2467494"/>
                </a:lnTo>
                <a:close/>
                <a:moveTo>
                  <a:pt x="576135" y="2364287"/>
                </a:moveTo>
                <a:cubicBezTo>
                  <a:pt x="547282" y="2379090"/>
                  <a:pt x="536379" y="2384745"/>
                  <a:pt x="536882" y="2388237"/>
                </a:cubicBezTo>
                <a:cubicBezTo>
                  <a:pt x="537385" y="2391732"/>
                  <a:pt x="533526" y="2473898"/>
                  <a:pt x="542921" y="2487038"/>
                </a:cubicBezTo>
                <a:cubicBezTo>
                  <a:pt x="552313" y="2500178"/>
                  <a:pt x="577477" y="2475394"/>
                  <a:pt x="593245" y="2467078"/>
                </a:cubicBezTo>
                <a:cubicBezTo>
                  <a:pt x="592910" y="2456432"/>
                  <a:pt x="593581" y="2452774"/>
                  <a:pt x="581167" y="2447119"/>
                </a:cubicBezTo>
                <a:lnTo>
                  <a:pt x="564058" y="2455103"/>
                </a:lnTo>
                <a:cubicBezTo>
                  <a:pt x="563721" y="2438470"/>
                  <a:pt x="563387" y="2417845"/>
                  <a:pt x="563050" y="2401212"/>
                </a:cubicBezTo>
                <a:lnTo>
                  <a:pt x="592239" y="2384246"/>
                </a:lnTo>
                <a:cubicBezTo>
                  <a:pt x="591903" y="2376595"/>
                  <a:pt x="588548" y="2363955"/>
                  <a:pt x="576135" y="2364287"/>
                </a:cubicBezTo>
                <a:close/>
                <a:moveTo>
                  <a:pt x="417108" y="2327361"/>
                </a:moveTo>
                <a:lnTo>
                  <a:pt x="417108" y="2360295"/>
                </a:lnTo>
                <a:lnTo>
                  <a:pt x="524804" y="2418178"/>
                </a:lnTo>
                <a:cubicBezTo>
                  <a:pt x="525140" y="2408531"/>
                  <a:pt x="525475" y="2398884"/>
                  <a:pt x="525811" y="2389237"/>
                </a:cubicBezTo>
                <a:close/>
                <a:moveTo>
                  <a:pt x="4374454" y="2287829"/>
                </a:moveTo>
                <a:lnTo>
                  <a:pt x="4323951" y="2298250"/>
                </a:lnTo>
                <a:lnTo>
                  <a:pt x="4617352" y="2400059"/>
                </a:lnTo>
                <a:lnTo>
                  <a:pt x="4783291" y="2351158"/>
                </a:lnTo>
                <a:lnTo>
                  <a:pt x="4655831" y="2355968"/>
                </a:lnTo>
                <a:close/>
                <a:moveTo>
                  <a:pt x="417108" y="2281456"/>
                </a:moveTo>
                <a:lnTo>
                  <a:pt x="417108" y="2314389"/>
                </a:lnTo>
                <a:lnTo>
                  <a:pt x="524804" y="2372271"/>
                </a:lnTo>
                <a:cubicBezTo>
                  <a:pt x="525139" y="2362624"/>
                  <a:pt x="525476" y="2352977"/>
                  <a:pt x="525810" y="2343329"/>
                </a:cubicBezTo>
                <a:close/>
                <a:moveTo>
                  <a:pt x="4395296" y="2243738"/>
                </a:moveTo>
                <a:lnTo>
                  <a:pt x="4635790" y="2270192"/>
                </a:lnTo>
                <a:lnTo>
                  <a:pt x="4637393" y="2315886"/>
                </a:lnTo>
                <a:lnTo>
                  <a:pt x="4396098" y="2272597"/>
                </a:lnTo>
                <a:close/>
                <a:moveTo>
                  <a:pt x="4635789" y="2188425"/>
                </a:moveTo>
                <a:lnTo>
                  <a:pt x="4637392" y="2234118"/>
                </a:lnTo>
                <a:lnTo>
                  <a:pt x="4396098" y="2221292"/>
                </a:lnTo>
                <a:lnTo>
                  <a:pt x="4395296" y="2191631"/>
                </a:lnTo>
                <a:close/>
                <a:moveTo>
                  <a:pt x="3019427" y="2184115"/>
                </a:moveTo>
                <a:lnTo>
                  <a:pt x="3086102" y="2196021"/>
                </a:lnTo>
                <a:lnTo>
                  <a:pt x="3076577" y="2279365"/>
                </a:lnTo>
                <a:lnTo>
                  <a:pt x="3057897" y="2275500"/>
                </a:lnTo>
                <a:lnTo>
                  <a:pt x="3045835" y="2367581"/>
                </a:lnTo>
                <a:lnTo>
                  <a:pt x="3107932" y="2375716"/>
                </a:lnTo>
                <a:lnTo>
                  <a:pt x="3112296" y="2346041"/>
                </a:lnTo>
                <a:lnTo>
                  <a:pt x="3178971" y="2357947"/>
                </a:lnTo>
                <a:lnTo>
                  <a:pt x="3169446" y="2441291"/>
                </a:lnTo>
                <a:lnTo>
                  <a:pt x="3152886" y="2437865"/>
                </a:lnTo>
                <a:lnTo>
                  <a:pt x="3140747" y="2530524"/>
                </a:lnTo>
                <a:lnTo>
                  <a:pt x="3161111" y="2534160"/>
                </a:lnTo>
                <a:lnTo>
                  <a:pt x="3151586" y="2617504"/>
                </a:lnTo>
                <a:lnTo>
                  <a:pt x="3082530" y="2603216"/>
                </a:lnTo>
                <a:lnTo>
                  <a:pt x="3094436" y="2522254"/>
                </a:lnTo>
                <a:lnTo>
                  <a:pt x="3113713" y="2525696"/>
                </a:lnTo>
                <a:lnTo>
                  <a:pt x="3125949" y="2432291"/>
                </a:lnTo>
                <a:lnTo>
                  <a:pt x="3100390" y="2427003"/>
                </a:lnTo>
                <a:lnTo>
                  <a:pt x="3103941" y="2402859"/>
                </a:lnTo>
                <a:lnTo>
                  <a:pt x="2949322" y="2382605"/>
                </a:lnTo>
                <a:lnTo>
                  <a:pt x="2945609" y="2415097"/>
                </a:lnTo>
                <a:lnTo>
                  <a:pt x="2927281" y="2411305"/>
                </a:lnTo>
                <a:lnTo>
                  <a:pt x="2916055" y="2497002"/>
                </a:lnTo>
                <a:lnTo>
                  <a:pt x="2937274" y="2500791"/>
                </a:lnTo>
                <a:lnTo>
                  <a:pt x="2927749" y="2584135"/>
                </a:lnTo>
                <a:lnTo>
                  <a:pt x="2858693" y="2569847"/>
                </a:lnTo>
                <a:lnTo>
                  <a:pt x="2870599" y="2488885"/>
                </a:lnTo>
                <a:lnTo>
                  <a:pt x="2889021" y="2492175"/>
                </a:lnTo>
                <a:lnTo>
                  <a:pt x="2900345" y="2405732"/>
                </a:lnTo>
                <a:lnTo>
                  <a:pt x="2876553" y="2400809"/>
                </a:lnTo>
                <a:lnTo>
                  <a:pt x="2888459" y="2319847"/>
                </a:lnTo>
                <a:lnTo>
                  <a:pt x="2955134" y="2331753"/>
                </a:lnTo>
                <a:lnTo>
                  <a:pt x="2952437" y="2355347"/>
                </a:lnTo>
                <a:lnTo>
                  <a:pt x="3018635" y="2364018"/>
                </a:lnTo>
                <a:lnTo>
                  <a:pt x="3030961" y="2269927"/>
                </a:lnTo>
                <a:lnTo>
                  <a:pt x="3007521" y="2265077"/>
                </a:lnTo>
                <a:close/>
                <a:moveTo>
                  <a:pt x="221360" y="2156319"/>
                </a:moveTo>
                <a:cubicBezTo>
                  <a:pt x="192507" y="2171122"/>
                  <a:pt x="181604" y="2176777"/>
                  <a:pt x="182107" y="2180270"/>
                </a:cubicBezTo>
                <a:cubicBezTo>
                  <a:pt x="182610" y="2183765"/>
                  <a:pt x="178751" y="2265930"/>
                  <a:pt x="188145" y="2279070"/>
                </a:cubicBezTo>
                <a:cubicBezTo>
                  <a:pt x="197539" y="2292210"/>
                  <a:pt x="222702" y="2267426"/>
                  <a:pt x="238471" y="2259110"/>
                </a:cubicBezTo>
                <a:cubicBezTo>
                  <a:pt x="238135" y="2248465"/>
                  <a:pt x="238806" y="2244806"/>
                  <a:pt x="226392" y="2239151"/>
                </a:cubicBezTo>
                <a:lnTo>
                  <a:pt x="209282" y="2247134"/>
                </a:lnTo>
                <a:cubicBezTo>
                  <a:pt x="208947" y="2230501"/>
                  <a:pt x="208611" y="2209877"/>
                  <a:pt x="208276" y="2193244"/>
                </a:cubicBezTo>
                <a:lnTo>
                  <a:pt x="237464" y="2176278"/>
                </a:lnTo>
                <a:cubicBezTo>
                  <a:pt x="237128" y="2168626"/>
                  <a:pt x="233774" y="2155986"/>
                  <a:pt x="221360" y="2156319"/>
                </a:cubicBezTo>
                <a:close/>
                <a:moveTo>
                  <a:pt x="2624141" y="2129347"/>
                </a:moveTo>
                <a:lnTo>
                  <a:pt x="2690816" y="2141253"/>
                </a:lnTo>
                <a:lnTo>
                  <a:pt x="2681291" y="2224597"/>
                </a:lnTo>
                <a:lnTo>
                  <a:pt x="2663580" y="2220932"/>
                </a:lnTo>
                <a:lnTo>
                  <a:pt x="2651656" y="2311081"/>
                </a:lnTo>
                <a:lnTo>
                  <a:pt x="2712080" y="2319073"/>
                </a:lnTo>
                <a:lnTo>
                  <a:pt x="2715818" y="2293653"/>
                </a:lnTo>
                <a:lnTo>
                  <a:pt x="2782493" y="2305560"/>
                </a:lnTo>
                <a:lnTo>
                  <a:pt x="2772968" y="2388904"/>
                </a:lnTo>
                <a:lnTo>
                  <a:pt x="2703912" y="2374616"/>
                </a:lnTo>
                <a:lnTo>
                  <a:pt x="2708088" y="2346216"/>
                </a:lnTo>
                <a:lnTo>
                  <a:pt x="2580107" y="2329288"/>
                </a:lnTo>
                <a:lnTo>
                  <a:pt x="2583704" y="2302093"/>
                </a:lnTo>
                <a:lnTo>
                  <a:pt x="2624461" y="2307484"/>
                </a:lnTo>
                <a:lnTo>
                  <a:pt x="2636646" y="2215360"/>
                </a:lnTo>
                <a:lnTo>
                  <a:pt x="2612235" y="2210309"/>
                </a:lnTo>
                <a:close/>
                <a:moveTo>
                  <a:pt x="199703" y="2124774"/>
                </a:moveTo>
                <a:lnTo>
                  <a:pt x="604317" y="2352311"/>
                </a:lnTo>
                <a:cubicBezTo>
                  <a:pt x="604988" y="2396887"/>
                  <a:pt x="605323" y="2424165"/>
                  <a:pt x="606330" y="2491028"/>
                </a:cubicBezTo>
                <a:cubicBezTo>
                  <a:pt x="600962" y="2489698"/>
                  <a:pt x="597942" y="2480384"/>
                  <a:pt x="590227" y="2477056"/>
                </a:cubicBezTo>
                <a:cubicBezTo>
                  <a:pt x="579490" y="2484708"/>
                  <a:pt x="557347" y="2501341"/>
                  <a:pt x="543927" y="2498015"/>
                </a:cubicBezTo>
                <a:cubicBezTo>
                  <a:pt x="530507" y="2494689"/>
                  <a:pt x="530507" y="2488202"/>
                  <a:pt x="527823" y="2439135"/>
                </a:cubicBezTo>
                <a:lnTo>
                  <a:pt x="229898" y="2277464"/>
                </a:lnTo>
                <a:cubicBezTo>
                  <a:pt x="211109" y="2292766"/>
                  <a:pt x="187793" y="2296092"/>
                  <a:pt x="177560" y="2283451"/>
                </a:cubicBezTo>
                <a:cubicBezTo>
                  <a:pt x="167327" y="2270810"/>
                  <a:pt x="168333" y="2181160"/>
                  <a:pt x="174540" y="2171679"/>
                </a:cubicBezTo>
                <a:cubicBezTo>
                  <a:pt x="180748" y="2162198"/>
                  <a:pt x="191988" y="2162697"/>
                  <a:pt x="196684" y="2154713"/>
                </a:cubicBezTo>
                <a:cubicBezTo>
                  <a:pt x="197019" y="2143403"/>
                  <a:pt x="199368" y="2136084"/>
                  <a:pt x="199703" y="2124774"/>
                </a:cubicBezTo>
                <a:close/>
                <a:moveTo>
                  <a:pt x="4634988" y="2108260"/>
                </a:moveTo>
                <a:lnTo>
                  <a:pt x="4635789" y="2154755"/>
                </a:lnTo>
                <a:lnTo>
                  <a:pt x="4395296" y="2169987"/>
                </a:lnTo>
                <a:lnTo>
                  <a:pt x="4394495" y="2139525"/>
                </a:lnTo>
                <a:close/>
                <a:moveTo>
                  <a:pt x="576135" y="2080647"/>
                </a:moveTo>
                <a:cubicBezTo>
                  <a:pt x="547282" y="2095449"/>
                  <a:pt x="536379" y="2101104"/>
                  <a:pt x="536883" y="2104598"/>
                </a:cubicBezTo>
                <a:cubicBezTo>
                  <a:pt x="537385" y="2108091"/>
                  <a:pt x="533525" y="2190258"/>
                  <a:pt x="542921" y="2203397"/>
                </a:cubicBezTo>
                <a:cubicBezTo>
                  <a:pt x="552313" y="2216538"/>
                  <a:pt x="577477" y="2191754"/>
                  <a:pt x="593245" y="2183437"/>
                </a:cubicBezTo>
                <a:cubicBezTo>
                  <a:pt x="592911" y="2172793"/>
                  <a:pt x="593581" y="2169134"/>
                  <a:pt x="581167" y="2163478"/>
                </a:cubicBezTo>
                <a:lnTo>
                  <a:pt x="564058" y="2171462"/>
                </a:lnTo>
                <a:cubicBezTo>
                  <a:pt x="563721" y="2154828"/>
                  <a:pt x="563387" y="2134204"/>
                  <a:pt x="563050" y="2117571"/>
                </a:cubicBezTo>
                <a:lnTo>
                  <a:pt x="592239" y="2100605"/>
                </a:lnTo>
                <a:cubicBezTo>
                  <a:pt x="591903" y="2092954"/>
                  <a:pt x="588549" y="2080313"/>
                  <a:pt x="576135" y="2080647"/>
                </a:cubicBezTo>
                <a:close/>
                <a:moveTo>
                  <a:pt x="2246315" y="2071401"/>
                </a:moveTo>
                <a:cubicBezTo>
                  <a:pt x="2418158" y="2071401"/>
                  <a:pt x="2557465" y="2210708"/>
                  <a:pt x="2557465" y="2382551"/>
                </a:cubicBezTo>
                <a:cubicBezTo>
                  <a:pt x="2557465" y="2499900"/>
                  <a:pt x="2492502" y="2602076"/>
                  <a:pt x="2395876" y="2653809"/>
                </a:cubicBezTo>
                <a:lnTo>
                  <a:pt x="2401891" y="2654015"/>
                </a:lnTo>
                <a:cubicBezTo>
                  <a:pt x="2498465" y="2708783"/>
                  <a:pt x="2718861" y="2801652"/>
                  <a:pt x="2693991" y="3201702"/>
                </a:cubicBezTo>
                <a:cubicBezTo>
                  <a:pt x="2689228" y="3254354"/>
                  <a:pt x="2670178" y="3395113"/>
                  <a:pt x="2522541" y="3423952"/>
                </a:cubicBezTo>
                <a:cubicBezTo>
                  <a:pt x="2454808" y="3444326"/>
                  <a:pt x="2060843" y="3476604"/>
                  <a:pt x="1833566" y="3306477"/>
                </a:cubicBezTo>
                <a:lnTo>
                  <a:pt x="1808166" y="3154077"/>
                </a:lnTo>
                <a:lnTo>
                  <a:pt x="1754191" y="3255677"/>
                </a:lnTo>
                <a:cubicBezTo>
                  <a:pt x="1734612" y="3222075"/>
                  <a:pt x="1724558" y="3176567"/>
                  <a:pt x="1740698" y="3071527"/>
                </a:cubicBezTo>
                <a:cubicBezTo>
                  <a:pt x="1744398" y="3012850"/>
                  <a:pt x="1824934" y="2726042"/>
                  <a:pt x="2077291" y="2643244"/>
                </a:cubicBezTo>
                <a:cubicBezTo>
                  <a:pt x="1991637" y="2588183"/>
                  <a:pt x="1935165" y="2491962"/>
                  <a:pt x="1935165" y="2382551"/>
                </a:cubicBezTo>
                <a:cubicBezTo>
                  <a:pt x="1935165" y="2210708"/>
                  <a:pt x="2074472" y="2071401"/>
                  <a:pt x="2246315" y="2071401"/>
                </a:cubicBezTo>
                <a:close/>
                <a:moveTo>
                  <a:pt x="833865" y="2060712"/>
                </a:moveTo>
                <a:lnTo>
                  <a:pt x="957264" y="2130762"/>
                </a:lnTo>
                <a:cubicBezTo>
                  <a:pt x="956817" y="2174229"/>
                  <a:pt x="956370" y="2219027"/>
                  <a:pt x="955923" y="2262494"/>
                </a:cubicBezTo>
                <a:lnTo>
                  <a:pt x="629816" y="2451443"/>
                </a:lnTo>
                <a:cubicBezTo>
                  <a:pt x="630261" y="2413052"/>
                  <a:pt x="630706" y="2373343"/>
                  <a:pt x="631151" y="2334938"/>
                </a:cubicBezTo>
                <a:lnTo>
                  <a:pt x="259422" y="2130762"/>
                </a:lnTo>
                <a:lnTo>
                  <a:pt x="359486" y="2073078"/>
                </a:lnTo>
                <a:lnTo>
                  <a:pt x="520814" y="2163164"/>
                </a:lnTo>
                <a:cubicBezTo>
                  <a:pt x="511978" y="2241840"/>
                  <a:pt x="560155" y="2232749"/>
                  <a:pt x="591827" y="2204321"/>
                </a:cubicBezTo>
                <a:lnTo>
                  <a:pt x="611330" y="2222667"/>
                </a:lnTo>
                <a:lnTo>
                  <a:pt x="620331" y="2186966"/>
                </a:lnTo>
                <a:close/>
                <a:moveTo>
                  <a:pt x="417108" y="2043722"/>
                </a:moveTo>
                <a:lnTo>
                  <a:pt x="417108" y="2076655"/>
                </a:lnTo>
                <a:lnTo>
                  <a:pt x="524804" y="2134537"/>
                </a:lnTo>
                <a:cubicBezTo>
                  <a:pt x="525139" y="2124890"/>
                  <a:pt x="525475" y="2115243"/>
                  <a:pt x="525810" y="2105596"/>
                </a:cubicBezTo>
                <a:close/>
                <a:moveTo>
                  <a:pt x="4635790" y="2026493"/>
                </a:moveTo>
                <a:lnTo>
                  <a:pt x="4634988" y="2073790"/>
                </a:lnTo>
                <a:lnTo>
                  <a:pt x="4395296" y="2120285"/>
                </a:lnTo>
                <a:lnTo>
                  <a:pt x="4394494" y="2087418"/>
                </a:lnTo>
                <a:close/>
                <a:moveTo>
                  <a:pt x="417108" y="1997815"/>
                </a:moveTo>
                <a:lnTo>
                  <a:pt x="417108" y="2030748"/>
                </a:lnTo>
                <a:lnTo>
                  <a:pt x="524804" y="2088630"/>
                </a:lnTo>
                <a:cubicBezTo>
                  <a:pt x="525139" y="2078983"/>
                  <a:pt x="525475" y="2069337"/>
                  <a:pt x="525810" y="2059689"/>
                </a:cubicBezTo>
                <a:close/>
                <a:moveTo>
                  <a:pt x="4634988" y="1944725"/>
                </a:moveTo>
                <a:lnTo>
                  <a:pt x="4635789" y="1994427"/>
                </a:lnTo>
                <a:lnTo>
                  <a:pt x="4395296" y="2067377"/>
                </a:lnTo>
                <a:lnTo>
                  <a:pt x="4395296" y="2036113"/>
                </a:lnTo>
                <a:close/>
                <a:moveTo>
                  <a:pt x="2393890" y="1900281"/>
                </a:moveTo>
                <a:lnTo>
                  <a:pt x="3389460" y="2026369"/>
                </a:lnTo>
                <a:lnTo>
                  <a:pt x="3426235" y="2068399"/>
                </a:lnTo>
                <a:lnTo>
                  <a:pt x="3339550" y="2838062"/>
                </a:lnTo>
                <a:lnTo>
                  <a:pt x="3287013" y="2898479"/>
                </a:lnTo>
                <a:lnTo>
                  <a:pt x="3205283" y="2881874"/>
                </a:lnTo>
                <a:cubicBezTo>
                  <a:pt x="3237533" y="2908732"/>
                  <a:pt x="3255492" y="2940978"/>
                  <a:pt x="3255492" y="2975358"/>
                </a:cubicBezTo>
                <a:cubicBezTo>
                  <a:pt x="3255492" y="3080200"/>
                  <a:pt x="3088490" y="3165191"/>
                  <a:pt x="2882482" y="3165191"/>
                </a:cubicBezTo>
                <a:cubicBezTo>
                  <a:pt x="2832515" y="3165191"/>
                  <a:pt x="2784844" y="3160191"/>
                  <a:pt x="2741337" y="3150913"/>
                </a:cubicBezTo>
                <a:cubicBezTo>
                  <a:pt x="2741436" y="3060262"/>
                  <a:pt x="2725931" y="2933955"/>
                  <a:pt x="2659480" y="2824694"/>
                </a:cubicBezTo>
                <a:cubicBezTo>
                  <a:pt x="2693619" y="2810677"/>
                  <a:pt x="2732766" y="2800682"/>
                  <a:pt x="2775084" y="2794473"/>
                </a:cubicBezTo>
                <a:lnTo>
                  <a:pt x="2614819" y="2761912"/>
                </a:lnTo>
                <a:cubicBezTo>
                  <a:pt x="2593945" y="2734267"/>
                  <a:pt x="2567827" y="2709631"/>
                  <a:pt x="2535929" y="2689612"/>
                </a:cubicBezTo>
                <a:lnTo>
                  <a:pt x="3246910" y="2827693"/>
                </a:lnTo>
                <a:cubicBezTo>
                  <a:pt x="3277568" y="2575782"/>
                  <a:pt x="3308225" y="2315991"/>
                  <a:pt x="3338884" y="2064081"/>
                </a:cubicBezTo>
                <a:lnTo>
                  <a:pt x="2437322" y="1951520"/>
                </a:lnTo>
                <a:lnTo>
                  <a:pt x="2418991" y="2087272"/>
                </a:lnTo>
                <a:lnTo>
                  <a:pt x="2414590" y="2084101"/>
                </a:lnTo>
                <a:lnTo>
                  <a:pt x="2374109" y="2055526"/>
                </a:lnTo>
                <a:lnTo>
                  <a:pt x="2373879" y="2055748"/>
                </a:lnTo>
                <a:close/>
                <a:moveTo>
                  <a:pt x="221360" y="1872678"/>
                </a:moveTo>
                <a:cubicBezTo>
                  <a:pt x="192507" y="1887481"/>
                  <a:pt x="181604" y="1893136"/>
                  <a:pt x="182107" y="1896629"/>
                </a:cubicBezTo>
                <a:cubicBezTo>
                  <a:pt x="182610" y="1900124"/>
                  <a:pt x="178751" y="1982289"/>
                  <a:pt x="188145" y="1995429"/>
                </a:cubicBezTo>
                <a:cubicBezTo>
                  <a:pt x="197539" y="2008569"/>
                  <a:pt x="222702" y="1983785"/>
                  <a:pt x="238470" y="1975469"/>
                </a:cubicBezTo>
                <a:cubicBezTo>
                  <a:pt x="238135" y="1964824"/>
                  <a:pt x="238806" y="1961165"/>
                  <a:pt x="226392" y="1955510"/>
                </a:cubicBezTo>
                <a:lnTo>
                  <a:pt x="209282" y="1963494"/>
                </a:lnTo>
                <a:cubicBezTo>
                  <a:pt x="208947" y="1946861"/>
                  <a:pt x="208611" y="1926236"/>
                  <a:pt x="208276" y="1909603"/>
                </a:cubicBezTo>
                <a:lnTo>
                  <a:pt x="237464" y="1892637"/>
                </a:lnTo>
                <a:cubicBezTo>
                  <a:pt x="237128" y="1884986"/>
                  <a:pt x="233774" y="1872345"/>
                  <a:pt x="221360" y="1872678"/>
                </a:cubicBezTo>
                <a:close/>
                <a:moveTo>
                  <a:pt x="4633385" y="1864561"/>
                </a:moveTo>
                <a:lnTo>
                  <a:pt x="4634186" y="1915064"/>
                </a:lnTo>
                <a:lnTo>
                  <a:pt x="4395296" y="2016071"/>
                </a:lnTo>
                <a:lnTo>
                  <a:pt x="4394494" y="1983204"/>
                </a:lnTo>
                <a:close/>
                <a:moveTo>
                  <a:pt x="199703" y="1841133"/>
                </a:moveTo>
                <a:lnTo>
                  <a:pt x="604317" y="2068671"/>
                </a:lnTo>
                <a:cubicBezTo>
                  <a:pt x="604988" y="2113247"/>
                  <a:pt x="605323" y="2140524"/>
                  <a:pt x="606330" y="2207388"/>
                </a:cubicBezTo>
                <a:cubicBezTo>
                  <a:pt x="600963" y="2206056"/>
                  <a:pt x="597942" y="2196744"/>
                  <a:pt x="590226" y="2193417"/>
                </a:cubicBezTo>
                <a:cubicBezTo>
                  <a:pt x="579490" y="2201068"/>
                  <a:pt x="557347" y="2217701"/>
                  <a:pt x="543928" y="2214374"/>
                </a:cubicBezTo>
                <a:cubicBezTo>
                  <a:pt x="530507" y="2211048"/>
                  <a:pt x="530507" y="2204560"/>
                  <a:pt x="527823" y="2155494"/>
                </a:cubicBezTo>
                <a:lnTo>
                  <a:pt x="229898" y="1993822"/>
                </a:lnTo>
                <a:cubicBezTo>
                  <a:pt x="211109" y="2009125"/>
                  <a:pt x="187793" y="2012451"/>
                  <a:pt x="177560" y="1999810"/>
                </a:cubicBezTo>
                <a:cubicBezTo>
                  <a:pt x="167328" y="1987168"/>
                  <a:pt x="168333" y="1897519"/>
                  <a:pt x="174540" y="1888038"/>
                </a:cubicBezTo>
                <a:cubicBezTo>
                  <a:pt x="180748" y="1878557"/>
                  <a:pt x="191988" y="1879056"/>
                  <a:pt x="196684" y="1871071"/>
                </a:cubicBezTo>
                <a:cubicBezTo>
                  <a:pt x="197020" y="1859761"/>
                  <a:pt x="199368" y="1852443"/>
                  <a:pt x="199703" y="1841133"/>
                </a:cubicBezTo>
                <a:close/>
                <a:moveTo>
                  <a:pt x="4633384" y="1783595"/>
                </a:moveTo>
                <a:cubicBezTo>
                  <a:pt x="4633652" y="1801231"/>
                  <a:pt x="4633919" y="1818867"/>
                  <a:pt x="4634187" y="1836503"/>
                </a:cubicBezTo>
                <a:lnTo>
                  <a:pt x="4394495" y="1966370"/>
                </a:lnTo>
                <a:lnTo>
                  <a:pt x="4394495" y="1931899"/>
                </a:lnTo>
                <a:close/>
                <a:moveTo>
                  <a:pt x="4652624" y="1741909"/>
                </a:moveTo>
                <a:lnTo>
                  <a:pt x="4382471" y="1927089"/>
                </a:lnTo>
                <a:lnTo>
                  <a:pt x="4378462" y="2285424"/>
                </a:lnTo>
                <a:lnTo>
                  <a:pt x="4655831" y="2347150"/>
                </a:lnTo>
                <a:close/>
                <a:moveTo>
                  <a:pt x="4652142" y="1728120"/>
                </a:moveTo>
                <a:lnTo>
                  <a:pt x="4902255" y="1920516"/>
                </a:lnTo>
                <a:lnTo>
                  <a:pt x="4906103" y="2282217"/>
                </a:lnTo>
                <a:lnTo>
                  <a:pt x="4926304" y="2285103"/>
                </a:lnTo>
                <a:lnTo>
                  <a:pt x="4929191" y="2313000"/>
                </a:lnTo>
                <a:lnTo>
                  <a:pt x="4618473" y="2417855"/>
                </a:lnTo>
                <a:lnTo>
                  <a:pt x="4316414" y="2307228"/>
                </a:lnTo>
                <a:lnTo>
                  <a:pt x="4316415" y="2296647"/>
                </a:lnTo>
                <a:lnTo>
                  <a:pt x="4372209" y="2285103"/>
                </a:lnTo>
                <a:lnTo>
                  <a:pt x="4375096" y="1920516"/>
                </a:lnTo>
                <a:close/>
                <a:moveTo>
                  <a:pt x="605659" y="1647527"/>
                </a:moveTo>
                <a:lnTo>
                  <a:pt x="957264" y="1847122"/>
                </a:lnTo>
                <a:cubicBezTo>
                  <a:pt x="956817" y="1890589"/>
                  <a:pt x="956370" y="1935386"/>
                  <a:pt x="955923" y="1978853"/>
                </a:cubicBezTo>
                <a:lnTo>
                  <a:pt x="629815" y="2167802"/>
                </a:lnTo>
                <a:cubicBezTo>
                  <a:pt x="630261" y="2129411"/>
                  <a:pt x="630705" y="2089702"/>
                  <a:pt x="631151" y="2051297"/>
                </a:cubicBezTo>
                <a:lnTo>
                  <a:pt x="259422" y="1847122"/>
                </a:lnTo>
                <a:close/>
                <a:moveTo>
                  <a:pt x="4622803" y="1560506"/>
                </a:moveTo>
                <a:cubicBezTo>
                  <a:pt x="4339767" y="1560506"/>
                  <a:pt x="4110320" y="1789952"/>
                  <a:pt x="4110321" y="2072988"/>
                </a:cubicBezTo>
                <a:cubicBezTo>
                  <a:pt x="4110320" y="2356024"/>
                  <a:pt x="4339767" y="2585470"/>
                  <a:pt x="4622803" y="2585470"/>
                </a:cubicBezTo>
                <a:cubicBezTo>
                  <a:pt x="4905838" y="2585470"/>
                  <a:pt x="5135285" y="2356024"/>
                  <a:pt x="5135285" y="2072988"/>
                </a:cubicBezTo>
                <a:cubicBezTo>
                  <a:pt x="5135285" y="1789952"/>
                  <a:pt x="4905838" y="1560506"/>
                  <a:pt x="4622803" y="1560506"/>
                </a:cubicBezTo>
                <a:close/>
                <a:moveTo>
                  <a:pt x="563563" y="1560506"/>
                </a:moveTo>
                <a:cubicBezTo>
                  <a:pt x="280527" y="1560506"/>
                  <a:pt x="51081" y="1789952"/>
                  <a:pt x="51081" y="2072987"/>
                </a:cubicBezTo>
                <a:cubicBezTo>
                  <a:pt x="51081" y="2356024"/>
                  <a:pt x="280528" y="2585470"/>
                  <a:pt x="563563" y="2585470"/>
                </a:cubicBezTo>
                <a:cubicBezTo>
                  <a:pt x="846599" y="2585470"/>
                  <a:pt x="1076046" y="2356024"/>
                  <a:pt x="1076045" y="2072988"/>
                </a:cubicBezTo>
                <a:cubicBezTo>
                  <a:pt x="1076045" y="1789951"/>
                  <a:pt x="846599" y="1560506"/>
                  <a:pt x="563563" y="1560506"/>
                </a:cubicBezTo>
                <a:close/>
                <a:moveTo>
                  <a:pt x="2584452" y="1420320"/>
                </a:moveTo>
                <a:cubicBezTo>
                  <a:pt x="1891704" y="1420320"/>
                  <a:pt x="1330120" y="1981902"/>
                  <a:pt x="1330121" y="2674651"/>
                </a:cubicBezTo>
                <a:cubicBezTo>
                  <a:pt x="1330120" y="3367399"/>
                  <a:pt x="1891704" y="3928983"/>
                  <a:pt x="2584451" y="3928983"/>
                </a:cubicBezTo>
                <a:cubicBezTo>
                  <a:pt x="3277200" y="3928983"/>
                  <a:pt x="3838783" y="3367399"/>
                  <a:pt x="3838783" y="2674651"/>
                </a:cubicBezTo>
                <a:cubicBezTo>
                  <a:pt x="3838783" y="1981903"/>
                  <a:pt x="3277200" y="1420320"/>
                  <a:pt x="2584452" y="1420320"/>
                </a:cubicBezTo>
                <a:close/>
                <a:moveTo>
                  <a:pt x="2440507" y="703118"/>
                </a:moveTo>
                <a:lnTo>
                  <a:pt x="2407092" y="729697"/>
                </a:lnTo>
                <a:lnTo>
                  <a:pt x="2484553" y="748682"/>
                </a:lnTo>
                <a:lnTo>
                  <a:pt x="2517967" y="716028"/>
                </a:lnTo>
                <a:close/>
                <a:moveTo>
                  <a:pt x="2846287" y="651477"/>
                </a:moveTo>
                <a:lnTo>
                  <a:pt x="2701999" y="846141"/>
                </a:lnTo>
                <a:lnTo>
                  <a:pt x="2200278" y="742607"/>
                </a:lnTo>
                <a:lnTo>
                  <a:pt x="2703517" y="852976"/>
                </a:lnTo>
                <a:close/>
                <a:moveTo>
                  <a:pt x="2433672" y="618823"/>
                </a:moveTo>
                <a:lnTo>
                  <a:pt x="2355452" y="668943"/>
                </a:lnTo>
                <a:lnTo>
                  <a:pt x="2741994" y="733493"/>
                </a:lnTo>
                <a:lnTo>
                  <a:pt x="2789837" y="666666"/>
                </a:lnTo>
                <a:close/>
                <a:moveTo>
                  <a:pt x="2839199" y="276327"/>
                </a:moveTo>
                <a:lnTo>
                  <a:pt x="2475440" y="288477"/>
                </a:lnTo>
                <a:lnTo>
                  <a:pt x="2454937" y="550476"/>
                </a:lnTo>
                <a:lnTo>
                  <a:pt x="2811101" y="579332"/>
                </a:lnTo>
                <a:close/>
                <a:moveTo>
                  <a:pt x="2890839" y="242912"/>
                </a:moveTo>
                <a:lnTo>
                  <a:pt x="2857425" y="618063"/>
                </a:lnTo>
                <a:lnTo>
                  <a:pt x="2800543" y="612785"/>
                </a:lnTo>
                <a:cubicBezTo>
                  <a:pt x="2811016" y="616567"/>
                  <a:pt x="2793731" y="621108"/>
                  <a:pt x="2832365" y="624139"/>
                </a:cubicBezTo>
                <a:cubicBezTo>
                  <a:pt x="2837680" y="628441"/>
                  <a:pt x="2840719" y="632744"/>
                  <a:pt x="2836922" y="639327"/>
                </a:cubicBezTo>
                <a:cubicBezTo>
                  <a:pt x="2839453" y="641859"/>
                  <a:pt x="2848060" y="641351"/>
                  <a:pt x="2853628" y="642364"/>
                </a:cubicBezTo>
                <a:cubicBezTo>
                  <a:pt x="2859451" y="661856"/>
                  <a:pt x="2869069" y="707167"/>
                  <a:pt x="2823252" y="750961"/>
                </a:cubicBezTo>
                <a:lnTo>
                  <a:pt x="2713897" y="927145"/>
                </a:lnTo>
                <a:lnTo>
                  <a:pt x="2217999" y="813233"/>
                </a:lnTo>
                <a:cubicBezTo>
                  <a:pt x="2203063" y="802853"/>
                  <a:pt x="2175219" y="778046"/>
                  <a:pt x="2195976" y="738810"/>
                </a:cubicBezTo>
                <a:lnTo>
                  <a:pt x="2420763" y="598318"/>
                </a:lnTo>
                <a:cubicBezTo>
                  <a:pt x="2422027" y="579586"/>
                  <a:pt x="2435444" y="582118"/>
                  <a:pt x="2451898" y="580852"/>
                </a:cubicBezTo>
                <a:lnTo>
                  <a:pt x="2775936" y="610503"/>
                </a:lnTo>
                <a:lnTo>
                  <a:pt x="2415446" y="577055"/>
                </a:lnTo>
                <a:lnTo>
                  <a:pt x="2436710" y="259620"/>
                </a:lnTo>
                <a:close/>
                <a:moveTo>
                  <a:pt x="2584451" y="51081"/>
                </a:moveTo>
                <a:cubicBezTo>
                  <a:pt x="2301415" y="51080"/>
                  <a:pt x="2071970" y="280526"/>
                  <a:pt x="2071969" y="563563"/>
                </a:cubicBezTo>
                <a:cubicBezTo>
                  <a:pt x="2071969" y="846599"/>
                  <a:pt x="2301416" y="1076044"/>
                  <a:pt x="2584451" y="1076045"/>
                </a:cubicBezTo>
                <a:cubicBezTo>
                  <a:pt x="2867487" y="1076045"/>
                  <a:pt x="3096933" y="846599"/>
                  <a:pt x="3096933" y="563563"/>
                </a:cubicBezTo>
                <a:cubicBezTo>
                  <a:pt x="3096934" y="280526"/>
                  <a:pt x="2867488" y="51081"/>
                  <a:pt x="2584451" y="51081"/>
                </a:cubicBezTo>
                <a:close/>
                <a:moveTo>
                  <a:pt x="2584452" y="0"/>
                </a:moveTo>
                <a:cubicBezTo>
                  <a:pt x="2895698" y="-1"/>
                  <a:pt x="3148014" y="252316"/>
                  <a:pt x="3148014" y="563562"/>
                </a:cubicBezTo>
                <a:cubicBezTo>
                  <a:pt x="3148015" y="861677"/>
                  <a:pt x="2916543" y="1105727"/>
                  <a:pt x="2623346" y="1123205"/>
                </a:cubicBezTo>
                <a:lnTo>
                  <a:pt x="2623345" y="1370102"/>
                </a:lnTo>
                <a:cubicBezTo>
                  <a:pt x="3198315" y="1385787"/>
                  <a:pt x="3680077" y="1773844"/>
                  <a:pt x="3836596" y="2301987"/>
                </a:cubicBezTo>
                <a:lnTo>
                  <a:pt x="4081059" y="2219970"/>
                </a:lnTo>
                <a:cubicBezTo>
                  <a:pt x="4066033" y="2173545"/>
                  <a:pt x="4059240" y="2124061"/>
                  <a:pt x="4059240" y="2072988"/>
                </a:cubicBezTo>
                <a:cubicBezTo>
                  <a:pt x="4059239" y="1761741"/>
                  <a:pt x="4311555" y="1509425"/>
                  <a:pt x="4622802" y="1509425"/>
                </a:cubicBezTo>
                <a:cubicBezTo>
                  <a:pt x="4934050" y="1509425"/>
                  <a:pt x="5186366" y="1761741"/>
                  <a:pt x="5186366" y="2072988"/>
                </a:cubicBezTo>
                <a:cubicBezTo>
                  <a:pt x="5186365" y="2384235"/>
                  <a:pt x="4934050" y="2636551"/>
                  <a:pt x="4622802" y="2636550"/>
                </a:cubicBezTo>
                <a:cubicBezTo>
                  <a:pt x="4390090" y="2636551"/>
                  <a:pt x="4190322" y="2495501"/>
                  <a:pt x="4104504" y="2294153"/>
                </a:cubicBezTo>
                <a:lnTo>
                  <a:pt x="3855685" y="2377631"/>
                </a:lnTo>
                <a:cubicBezTo>
                  <a:pt x="3879212" y="2472837"/>
                  <a:pt x="3890965" y="2572371"/>
                  <a:pt x="3890965" y="2674651"/>
                </a:cubicBezTo>
                <a:cubicBezTo>
                  <a:pt x="3890965" y="3108798"/>
                  <a:pt x="3679209" y="3493487"/>
                  <a:pt x="3352517" y="3729929"/>
                </a:cubicBezTo>
                <a:lnTo>
                  <a:pt x="3484013" y="3917545"/>
                </a:lnTo>
                <a:cubicBezTo>
                  <a:pt x="3572740" y="3858263"/>
                  <a:pt x="3679432" y="3824000"/>
                  <a:pt x="3794127" y="3824000"/>
                </a:cubicBezTo>
                <a:cubicBezTo>
                  <a:pt x="4105374" y="3824000"/>
                  <a:pt x="4357690" y="4076316"/>
                  <a:pt x="4357690" y="4387563"/>
                </a:cubicBezTo>
                <a:cubicBezTo>
                  <a:pt x="4357690" y="4698810"/>
                  <a:pt x="4105374" y="4951126"/>
                  <a:pt x="3794127" y="4951126"/>
                </a:cubicBezTo>
                <a:cubicBezTo>
                  <a:pt x="3482880" y="4951126"/>
                  <a:pt x="3230564" y="4698810"/>
                  <a:pt x="3230564" y="4387563"/>
                </a:cubicBezTo>
                <a:cubicBezTo>
                  <a:pt x="3230564" y="4219082"/>
                  <a:pt x="3304497" y="4067869"/>
                  <a:pt x="3423202" y="3966313"/>
                </a:cubicBezTo>
                <a:lnTo>
                  <a:pt x="3288485" y="3774101"/>
                </a:lnTo>
                <a:cubicBezTo>
                  <a:pt x="3085785" y="3905509"/>
                  <a:pt x="2843954" y="3981165"/>
                  <a:pt x="2584452" y="3981165"/>
                </a:cubicBezTo>
                <a:cubicBezTo>
                  <a:pt x="2304622" y="3981165"/>
                  <a:pt x="2045340" y="3893192"/>
                  <a:pt x="1833318" y="3742591"/>
                </a:cubicBezTo>
                <a:lnTo>
                  <a:pt x="1680207" y="3943354"/>
                </a:lnTo>
                <a:cubicBezTo>
                  <a:pt x="1808356" y="4044701"/>
                  <a:pt x="1889127" y="4201937"/>
                  <a:pt x="1889127" y="4378038"/>
                </a:cubicBezTo>
                <a:cubicBezTo>
                  <a:pt x="1889127" y="4689285"/>
                  <a:pt x="1636811" y="4941601"/>
                  <a:pt x="1325564" y="4941601"/>
                </a:cubicBezTo>
                <a:cubicBezTo>
                  <a:pt x="1014317" y="4941601"/>
                  <a:pt x="762001" y="4689285"/>
                  <a:pt x="762001" y="4378038"/>
                </a:cubicBezTo>
                <a:cubicBezTo>
                  <a:pt x="762001" y="4066791"/>
                  <a:pt x="1014317" y="3814475"/>
                  <a:pt x="1325564" y="3814475"/>
                </a:cubicBezTo>
                <a:cubicBezTo>
                  <a:pt x="1432668" y="3814475"/>
                  <a:pt x="1532793" y="3844353"/>
                  <a:pt x="1617041" y="3897904"/>
                </a:cubicBezTo>
                <a:lnTo>
                  <a:pt x="1771019" y="3696005"/>
                </a:lnTo>
                <a:cubicBezTo>
                  <a:pt x="1470300" y="3457299"/>
                  <a:pt x="1277939" y="3088439"/>
                  <a:pt x="1277939" y="2674651"/>
                </a:cubicBezTo>
                <a:cubicBezTo>
                  <a:pt x="1277938" y="2569717"/>
                  <a:pt x="1290309" y="2467672"/>
                  <a:pt x="1315084" y="2370238"/>
                </a:cubicBezTo>
                <a:lnTo>
                  <a:pt x="1079304" y="2298865"/>
                </a:lnTo>
                <a:cubicBezTo>
                  <a:pt x="992789" y="2497789"/>
                  <a:pt x="794381" y="2636551"/>
                  <a:pt x="563563" y="2636551"/>
                </a:cubicBezTo>
                <a:cubicBezTo>
                  <a:pt x="252316" y="2636551"/>
                  <a:pt x="0" y="2384235"/>
                  <a:pt x="0" y="2072988"/>
                </a:cubicBezTo>
                <a:cubicBezTo>
                  <a:pt x="1" y="1761741"/>
                  <a:pt x="252316" y="1509425"/>
                  <a:pt x="563563" y="1509424"/>
                </a:cubicBezTo>
                <a:cubicBezTo>
                  <a:pt x="874811" y="1509425"/>
                  <a:pt x="1127126" y="1761741"/>
                  <a:pt x="1127126" y="2072988"/>
                </a:cubicBezTo>
                <a:cubicBezTo>
                  <a:pt x="1127127" y="2125905"/>
                  <a:pt x="1119833" y="2177118"/>
                  <a:pt x="1103749" y="2224990"/>
                </a:cubicBezTo>
                <a:lnTo>
                  <a:pt x="1334139" y="2294732"/>
                </a:lnTo>
                <a:cubicBezTo>
                  <a:pt x="1493188" y="1770341"/>
                  <a:pt x="1973189" y="1385717"/>
                  <a:pt x="2545557" y="1370102"/>
                </a:cubicBezTo>
                <a:lnTo>
                  <a:pt x="2545557" y="1123205"/>
                </a:lnTo>
                <a:cubicBezTo>
                  <a:pt x="2252361" y="1105727"/>
                  <a:pt x="2020888" y="861677"/>
                  <a:pt x="2020888" y="563562"/>
                </a:cubicBezTo>
                <a:cubicBezTo>
                  <a:pt x="2020888" y="252316"/>
                  <a:pt x="2273204" y="0"/>
                  <a:pt x="2584452"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802905" y="2636833"/>
            <a:ext cx="491060" cy="514310"/>
            <a:chOff x="9537835" y="4899591"/>
            <a:chExt cx="727463" cy="811798"/>
          </a:xfrm>
          <a:solidFill>
            <a:schemeClr val="bg1"/>
          </a:solidFill>
        </p:grpSpPr>
        <p:sp>
          <p:nvSpPr>
            <p:cNvPr id="15" name="Oval 14"/>
            <p:cNvSpPr/>
            <p:nvPr/>
          </p:nvSpPr>
          <p:spPr bwMode="auto">
            <a:xfrm>
              <a:off x="9829443" y="5237993"/>
              <a:ext cx="147995" cy="14799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6" name="Down Arrow 15"/>
            <p:cNvSpPr/>
            <p:nvPr/>
          </p:nvSpPr>
          <p:spPr bwMode="auto">
            <a:xfrm>
              <a:off x="9803016" y="5512846"/>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7" name="Down Arrow 16"/>
            <p:cNvSpPr/>
            <p:nvPr/>
          </p:nvSpPr>
          <p:spPr bwMode="auto">
            <a:xfrm rot="3600000">
              <a:off x="9542129" y="5359642"/>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8" name="Down Arrow 17"/>
            <p:cNvSpPr/>
            <p:nvPr/>
          </p:nvSpPr>
          <p:spPr bwMode="auto">
            <a:xfrm rot="18000000" flipH="1">
              <a:off x="10065601" y="5366194"/>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9" name="Down Arrow 18"/>
            <p:cNvSpPr/>
            <p:nvPr/>
          </p:nvSpPr>
          <p:spPr bwMode="auto">
            <a:xfrm rot="18000000" flipV="1">
              <a:off x="9536681" y="5060208"/>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0" name="Down Arrow 19"/>
            <p:cNvSpPr/>
            <p:nvPr/>
          </p:nvSpPr>
          <p:spPr bwMode="auto">
            <a:xfrm rot="3600000" flipH="1" flipV="1">
              <a:off x="10049594" y="5061473"/>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1" name="Down Arrow 20"/>
            <p:cNvSpPr/>
            <p:nvPr/>
          </p:nvSpPr>
          <p:spPr bwMode="auto">
            <a:xfrm flipV="1">
              <a:off x="9803027" y="4899591"/>
              <a:ext cx="200852" cy="198543"/>
            </a:xfrm>
            <a:prstGeom prst="downArrow">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89642" rIns="134464" bIns="89642" numCol="1" spcCol="0" rtlCol="0" fromWordArt="0" anchor="t" anchorCtr="0" forceAA="0" compatLnSpc="1">
              <a:prstTxWarp prst="textNoShape">
                <a:avLst/>
              </a:prstTxWarp>
              <a:noAutofit/>
            </a:bodyPr>
            <a:lstStyle/>
            <a:p>
              <a:pPr algn="ctr" defTabSz="914013" fontAlgn="base"/>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23" name="Freeform 58"/>
          <p:cNvSpPr>
            <a:spLocks noEditPoints="1"/>
          </p:cNvSpPr>
          <p:nvPr/>
        </p:nvSpPr>
        <p:spPr bwMode="black">
          <a:xfrm>
            <a:off x="815477" y="3336019"/>
            <a:ext cx="465915" cy="49937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0687" tIns="40344" rIns="80687" bIns="40344" numCol="1" anchor="t" anchorCtr="0" compatLnSpc="1">
            <a:prstTxWarp prst="textNoShape">
              <a:avLst/>
            </a:prstTxWarp>
          </a:bodyPr>
          <a:lstStyle/>
          <a:p>
            <a:pPr defTabSz="913844"/>
            <a:endParaRPr lang="en-US" sz="1568">
              <a:solidFill>
                <a:srgbClr val="000000"/>
              </a:solidFill>
            </a:endParaRPr>
          </a:p>
        </p:txBody>
      </p:sp>
      <p:sp>
        <p:nvSpPr>
          <p:cNvPr id="24" name="Freeform 23"/>
          <p:cNvSpPr/>
          <p:nvPr/>
        </p:nvSpPr>
        <p:spPr bwMode="auto">
          <a:xfrm>
            <a:off x="769410" y="4041602"/>
            <a:ext cx="558048" cy="471648"/>
          </a:xfrm>
          <a:custGeom>
            <a:avLst/>
            <a:gdLst/>
            <a:ahLst/>
            <a:cxnLst/>
            <a:rect l="l" t="t" r="r" b="b"/>
            <a:pathLst>
              <a:path w="6060276" h="5122001">
                <a:moveTo>
                  <a:pt x="4902250" y="203"/>
                </a:moveTo>
                <a:cubicBezTo>
                  <a:pt x="4954736" y="-969"/>
                  <a:pt x="5009753" y="2901"/>
                  <a:pt x="5067300" y="12426"/>
                </a:cubicBezTo>
                <a:lnTo>
                  <a:pt x="5076825" y="136251"/>
                </a:lnTo>
                <a:lnTo>
                  <a:pt x="4619625" y="479151"/>
                </a:lnTo>
                <a:lnTo>
                  <a:pt x="4810125" y="1431651"/>
                </a:lnTo>
                <a:lnTo>
                  <a:pt x="5591175" y="1593576"/>
                </a:lnTo>
                <a:lnTo>
                  <a:pt x="5962650" y="1126851"/>
                </a:lnTo>
                <a:lnTo>
                  <a:pt x="6057900" y="1184001"/>
                </a:lnTo>
                <a:cubicBezTo>
                  <a:pt x="6089650" y="1628501"/>
                  <a:pt x="5797550" y="1892026"/>
                  <a:pt x="5524500" y="2031726"/>
                </a:cubicBezTo>
                <a:lnTo>
                  <a:pt x="4514850" y="2107926"/>
                </a:lnTo>
                <a:lnTo>
                  <a:pt x="3743325" y="2993751"/>
                </a:lnTo>
                <a:lnTo>
                  <a:pt x="3730284" y="3007303"/>
                </a:lnTo>
                <a:lnTo>
                  <a:pt x="5172075" y="4327252"/>
                </a:lnTo>
                <a:cubicBezTo>
                  <a:pt x="5311775" y="4498702"/>
                  <a:pt x="5226050" y="4603477"/>
                  <a:pt x="5143500" y="4698727"/>
                </a:cubicBezTo>
                <a:cubicBezTo>
                  <a:pt x="4949825" y="4844777"/>
                  <a:pt x="4914900" y="4920977"/>
                  <a:pt x="4800600" y="5032102"/>
                </a:cubicBezTo>
                <a:cubicBezTo>
                  <a:pt x="4616450" y="5174977"/>
                  <a:pt x="4508500" y="5114652"/>
                  <a:pt x="4429125" y="5013052"/>
                </a:cubicBezTo>
                <a:lnTo>
                  <a:pt x="3172464" y="3586998"/>
                </a:lnTo>
                <a:lnTo>
                  <a:pt x="1800225" y="5013051"/>
                </a:lnTo>
                <a:cubicBezTo>
                  <a:pt x="1628775" y="5165451"/>
                  <a:pt x="1514475" y="5141639"/>
                  <a:pt x="1428750" y="5041626"/>
                </a:cubicBezTo>
                <a:lnTo>
                  <a:pt x="1033462" y="4632051"/>
                </a:lnTo>
                <a:cubicBezTo>
                  <a:pt x="984250" y="4462189"/>
                  <a:pt x="1049337" y="4359001"/>
                  <a:pt x="1143000" y="4279626"/>
                </a:cubicBezTo>
                <a:lnTo>
                  <a:pt x="2623832" y="2964413"/>
                </a:lnTo>
                <a:lnTo>
                  <a:pt x="1390650" y="1565002"/>
                </a:lnTo>
                <a:lnTo>
                  <a:pt x="1057275" y="1822177"/>
                </a:lnTo>
                <a:lnTo>
                  <a:pt x="1038225" y="2107927"/>
                </a:lnTo>
                <a:lnTo>
                  <a:pt x="590550" y="2365102"/>
                </a:lnTo>
                <a:lnTo>
                  <a:pt x="0" y="1726927"/>
                </a:lnTo>
                <a:lnTo>
                  <a:pt x="209550" y="1526902"/>
                </a:lnTo>
                <a:lnTo>
                  <a:pt x="676275" y="1384027"/>
                </a:lnTo>
                <a:lnTo>
                  <a:pt x="781050" y="1184002"/>
                </a:lnTo>
                <a:lnTo>
                  <a:pt x="1743075" y="374377"/>
                </a:lnTo>
                <a:cubicBezTo>
                  <a:pt x="1997075" y="209277"/>
                  <a:pt x="2603500" y="244202"/>
                  <a:pt x="2962275" y="564877"/>
                </a:cubicBezTo>
                <a:lnTo>
                  <a:pt x="2924175" y="669652"/>
                </a:lnTo>
                <a:cubicBezTo>
                  <a:pt x="2794000" y="625202"/>
                  <a:pt x="2692400" y="590277"/>
                  <a:pt x="2419350" y="650602"/>
                </a:cubicBezTo>
                <a:cubicBezTo>
                  <a:pt x="2301875" y="710927"/>
                  <a:pt x="2127250" y="704577"/>
                  <a:pt x="1752600" y="1203052"/>
                </a:cubicBezTo>
                <a:lnTo>
                  <a:pt x="3143250" y="2469877"/>
                </a:lnTo>
                <a:lnTo>
                  <a:pt x="3161663" y="2486734"/>
                </a:lnTo>
                <a:lnTo>
                  <a:pt x="4038600" y="1707876"/>
                </a:lnTo>
                <a:lnTo>
                  <a:pt x="4171950" y="555351"/>
                </a:lnTo>
                <a:cubicBezTo>
                  <a:pt x="4291409" y="263648"/>
                  <a:pt x="4534843" y="8408"/>
                  <a:pt x="4902250" y="203"/>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Footer Placeholder 6"/>
          <p:cNvSpPr>
            <a:spLocks noGrp="1"/>
          </p:cNvSpPr>
          <p:nvPr>
            <p:ph type="ftr" sz="quarter" idx="10"/>
          </p:nvPr>
        </p:nvSpPr>
        <p:spPr/>
        <p:txBody>
          <a:bodyPr/>
          <a:lstStyle/>
          <a:p>
            <a:r>
              <a:rPr dirty="0" smtClean="0">
                <a:solidFill>
                  <a:srgbClr val="FFFFFF"/>
                </a:solidFill>
              </a:rPr>
              <a:t>Microsoft Confidential - INTERNAL ONLY</a:t>
            </a:r>
            <a:endParaRPr dirty="0">
              <a:solidFill>
                <a:srgbClr val="FFFFFF"/>
              </a:solidFill>
            </a:endParaRPr>
          </a:p>
        </p:txBody>
      </p:sp>
    </p:spTree>
    <p:extLst>
      <p:ext uri="{BB962C8B-B14F-4D97-AF65-F5344CB8AC3E}">
        <p14:creationId xmlns:p14="http://schemas.microsoft.com/office/powerpoint/2010/main" val="3905446055"/>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ctrTitle"/>
          </p:nvPr>
        </p:nvSpPr>
        <p:spPr/>
        <p:txBody>
          <a:bodyPr/>
          <a:lstStyle/>
          <a:p>
            <a:r>
              <a:rPr lang="en-US" smtClean="0"/>
              <a:t>What is Microsoft Azure Government?</a:t>
            </a:r>
            <a:endParaRPr lang="en-IN" dirty="0"/>
          </a:p>
        </p:txBody>
      </p:sp>
      <p:sp>
        <p:nvSpPr>
          <p:cNvPr id="5" name="Freeform 4"/>
          <p:cNvSpPr/>
          <p:nvPr/>
        </p:nvSpPr>
        <p:spPr bwMode="auto">
          <a:xfrm>
            <a:off x="5850109" y="3336401"/>
            <a:ext cx="172748" cy="294140"/>
          </a:xfrm>
          <a:custGeom>
            <a:avLst/>
            <a:gdLst>
              <a:gd name="connsiteX0" fmla="*/ 176212 w 176212"/>
              <a:gd name="connsiteY0" fmla="*/ 0 h 300038"/>
              <a:gd name="connsiteX1" fmla="*/ 157162 w 176212"/>
              <a:gd name="connsiteY1" fmla="*/ 88107 h 300038"/>
              <a:gd name="connsiteX2" fmla="*/ 164306 w 176212"/>
              <a:gd name="connsiteY2" fmla="*/ 111919 h 300038"/>
              <a:gd name="connsiteX3" fmla="*/ 100012 w 176212"/>
              <a:gd name="connsiteY3" fmla="*/ 109538 h 300038"/>
              <a:gd name="connsiteX4" fmla="*/ 104775 w 176212"/>
              <a:gd name="connsiteY4" fmla="*/ 154782 h 300038"/>
              <a:gd name="connsiteX5" fmla="*/ 0 w 176212"/>
              <a:gd name="connsiteY5" fmla="*/ 138113 h 300038"/>
              <a:gd name="connsiteX6" fmla="*/ 7143 w 176212"/>
              <a:gd name="connsiteY6" fmla="*/ 295275 h 300038"/>
              <a:gd name="connsiteX7" fmla="*/ 152400 w 176212"/>
              <a:gd name="connsiteY7" fmla="*/ 300038 h 300038"/>
              <a:gd name="connsiteX8" fmla="*/ 154781 w 176212"/>
              <a:gd name="connsiteY8" fmla="*/ 300038 h 30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212" h="300038">
                <a:moveTo>
                  <a:pt x="176212" y="0"/>
                </a:moveTo>
                <a:lnTo>
                  <a:pt x="157162" y="88107"/>
                </a:lnTo>
                <a:lnTo>
                  <a:pt x="164306" y="111919"/>
                </a:lnTo>
                <a:lnTo>
                  <a:pt x="100012" y="109538"/>
                </a:lnTo>
                <a:lnTo>
                  <a:pt x="104775" y="154782"/>
                </a:lnTo>
                <a:lnTo>
                  <a:pt x="0" y="138113"/>
                </a:lnTo>
                <a:lnTo>
                  <a:pt x="7143" y="295275"/>
                </a:lnTo>
                <a:lnTo>
                  <a:pt x="152400" y="300038"/>
                </a:lnTo>
                <a:lnTo>
                  <a:pt x="154781" y="300038"/>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92" tIns="44796" rIns="89592" bIns="44796" rtlCol="0" anchor="ctr"/>
          <a:lstStyle/>
          <a:p>
            <a:pPr algn="ctr" defTabSz="913844"/>
            <a:endParaRPr lang="en-US" sz="1765">
              <a:solidFill>
                <a:srgbClr val="FFFFFF"/>
              </a:solidFill>
            </a:endParaRPr>
          </a:p>
        </p:txBody>
      </p:sp>
      <p:grpSp>
        <p:nvGrpSpPr>
          <p:cNvPr id="11" name="Group 10"/>
          <p:cNvGrpSpPr/>
          <p:nvPr/>
        </p:nvGrpSpPr>
        <p:grpSpPr>
          <a:xfrm>
            <a:off x="9818537" y="5244489"/>
            <a:ext cx="1762842" cy="985840"/>
            <a:chOff x="3911409" y="5331980"/>
            <a:chExt cx="1412606" cy="789976"/>
          </a:xfrm>
        </p:grpSpPr>
        <p:sp>
          <p:nvSpPr>
            <p:cNvPr id="12" name="Freeform 11"/>
            <p:cNvSpPr/>
            <p:nvPr/>
          </p:nvSpPr>
          <p:spPr bwMode="auto">
            <a:xfrm>
              <a:off x="3911409" y="5331980"/>
              <a:ext cx="1010635" cy="789976"/>
            </a:xfrm>
            <a:custGeom>
              <a:avLst/>
              <a:gdLst>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5872 w 1008254"/>
                <a:gd name="connsiteY5" fmla="*/ 392545 h 789976"/>
                <a:gd name="connsiteX6" fmla="*/ 955866 w 1008254"/>
                <a:gd name="connsiteY6" fmla="*/ 387783 h 789976"/>
                <a:gd name="connsiteX7" fmla="*/ 958247 w 1008254"/>
                <a:gd name="connsiteY7" fmla="*/ 442551 h 789976"/>
                <a:gd name="connsiteX8" fmla="*/ 862997 w 1008254"/>
                <a:gd name="connsiteY8" fmla="*/ 433026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5872 w 1008254"/>
                <a:gd name="connsiteY5" fmla="*/ 392545 h 789976"/>
                <a:gd name="connsiteX6" fmla="*/ 955866 w 1008254"/>
                <a:gd name="connsiteY6" fmla="*/ 404452 h 789976"/>
                <a:gd name="connsiteX7" fmla="*/ 958247 w 1008254"/>
                <a:gd name="connsiteY7" fmla="*/ 442551 h 789976"/>
                <a:gd name="connsiteX8" fmla="*/ 862997 w 1008254"/>
                <a:gd name="connsiteY8" fmla="*/ 433026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5872 w 1008254"/>
                <a:gd name="connsiteY5" fmla="*/ 392545 h 789976"/>
                <a:gd name="connsiteX6" fmla="*/ 955866 w 1008254"/>
                <a:gd name="connsiteY6" fmla="*/ 404452 h 789976"/>
                <a:gd name="connsiteX7" fmla="*/ 958247 w 1008254"/>
                <a:gd name="connsiteY7" fmla="*/ 442551 h 789976"/>
                <a:gd name="connsiteX8" fmla="*/ 862997 w 1008254"/>
                <a:gd name="connsiteY8" fmla="*/ 449695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5872 w 1008254"/>
                <a:gd name="connsiteY5" fmla="*/ 392545 h 789976"/>
                <a:gd name="connsiteX6" fmla="*/ 955866 w 1008254"/>
                <a:gd name="connsiteY6" fmla="*/ 404452 h 789976"/>
                <a:gd name="connsiteX7" fmla="*/ 958247 w 1008254"/>
                <a:gd name="connsiteY7" fmla="*/ 447313 h 789976"/>
                <a:gd name="connsiteX8" fmla="*/ 862997 w 1008254"/>
                <a:gd name="connsiteY8" fmla="*/ 449695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5872 w 1008254"/>
                <a:gd name="connsiteY5" fmla="*/ 392545 h 789976"/>
                <a:gd name="connsiteX6" fmla="*/ 955866 w 1008254"/>
                <a:gd name="connsiteY6" fmla="*/ 406833 h 789976"/>
                <a:gd name="connsiteX7" fmla="*/ 958247 w 1008254"/>
                <a:gd name="connsiteY7" fmla="*/ 447313 h 789976"/>
                <a:gd name="connsiteX8" fmla="*/ 862997 w 1008254"/>
                <a:gd name="connsiteY8" fmla="*/ 449695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8253 w 1008254"/>
                <a:gd name="connsiteY5" fmla="*/ 402070 h 789976"/>
                <a:gd name="connsiteX6" fmla="*/ 955866 w 1008254"/>
                <a:gd name="connsiteY6" fmla="*/ 406833 h 789976"/>
                <a:gd name="connsiteX7" fmla="*/ 958247 w 1008254"/>
                <a:gd name="connsiteY7" fmla="*/ 447313 h 789976"/>
                <a:gd name="connsiteX8" fmla="*/ 862997 w 1008254"/>
                <a:gd name="connsiteY8" fmla="*/ 449695 h 789976"/>
                <a:gd name="connsiteX9" fmla="*/ 860616 w 1008254"/>
                <a:gd name="connsiteY9" fmla="*/ 604476 h 789976"/>
                <a:gd name="connsiteX10" fmla="*/ 1008254 w 1008254"/>
                <a:gd name="connsiteY10" fmla="*/ 611291 h 789976"/>
                <a:gd name="connsiteX11" fmla="*/ 1008254 w 1008254"/>
                <a:gd name="connsiteY11" fmla="*/ 617560 h 789976"/>
                <a:gd name="connsiteX12" fmla="*/ 999782 w 1008254"/>
                <a:gd name="connsiteY12" fmla="*/ 635786 h 789976"/>
                <a:gd name="connsiteX13" fmla="*/ 843419 w 1008254"/>
                <a:gd name="connsiteY13" fmla="*/ 657726 h 789976"/>
                <a:gd name="connsiteX14" fmla="*/ 591575 w 1008254"/>
                <a:gd name="connsiteY14" fmla="*/ 707619 h 789976"/>
                <a:gd name="connsiteX15" fmla="*/ 216186 w 1008254"/>
                <a:gd name="connsiteY15" fmla="*/ 617335 h 789976"/>
                <a:gd name="connsiteX16" fmla="*/ 168668 w 1008254"/>
                <a:gd name="connsiteY16" fmla="*/ 332229 h 789976"/>
                <a:gd name="connsiteX17" fmla="*/ 475157 w 1008254"/>
                <a:gd name="connsiteY17" fmla="*/ 154038 h 789976"/>
                <a:gd name="connsiteX18" fmla="*/ 726059 w 1008254"/>
                <a:gd name="connsiteY18" fmla="*/ 0 h 789976"/>
                <a:gd name="connsiteX0" fmla="*/ 726059 w 1015397"/>
                <a:gd name="connsiteY0" fmla="*/ 0 h 789976"/>
                <a:gd name="connsiteX1" fmla="*/ 997665 w 1015397"/>
                <a:gd name="connsiteY1" fmla="*/ 184059 h 789976"/>
                <a:gd name="connsiteX2" fmla="*/ 1008254 w 1015397"/>
                <a:gd name="connsiteY2" fmla="*/ 225413 h 789976"/>
                <a:gd name="connsiteX3" fmla="*/ 1008254 w 1015397"/>
                <a:gd name="connsiteY3" fmla="*/ 325394 h 789976"/>
                <a:gd name="connsiteX4" fmla="*/ 1001110 w 1015397"/>
                <a:gd name="connsiteY4" fmla="*/ 325870 h 789976"/>
                <a:gd name="connsiteX5" fmla="*/ 1008253 w 1015397"/>
                <a:gd name="connsiteY5" fmla="*/ 402070 h 789976"/>
                <a:gd name="connsiteX6" fmla="*/ 955866 w 1015397"/>
                <a:gd name="connsiteY6" fmla="*/ 406833 h 789976"/>
                <a:gd name="connsiteX7" fmla="*/ 958247 w 1015397"/>
                <a:gd name="connsiteY7" fmla="*/ 447313 h 789976"/>
                <a:gd name="connsiteX8" fmla="*/ 862997 w 1015397"/>
                <a:gd name="connsiteY8" fmla="*/ 449695 h 789976"/>
                <a:gd name="connsiteX9" fmla="*/ 860616 w 1015397"/>
                <a:gd name="connsiteY9" fmla="*/ 604476 h 789976"/>
                <a:gd name="connsiteX10" fmla="*/ 1008254 w 1015397"/>
                <a:gd name="connsiteY10" fmla="*/ 611291 h 789976"/>
                <a:gd name="connsiteX11" fmla="*/ 1015397 w 1015397"/>
                <a:gd name="connsiteY11" fmla="*/ 603272 h 789976"/>
                <a:gd name="connsiteX12" fmla="*/ 999782 w 1015397"/>
                <a:gd name="connsiteY12" fmla="*/ 635786 h 789976"/>
                <a:gd name="connsiteX13" fmla="*/ 843419 w 1015397"/>
                <a:gd name="connsiteY13" fmla="*/ 657726 h 789976"/>
                <a:gd name="connsiteX14" fmla="*/ 591575 w 1015397"/>
                <a:gd name="connsiteY14" fmla="*/ 707619 h 789976"/>
                <a:gd name="connsiteX15" fmla="*/ 216186 w 1015397"/>
                <a:gd name="connsiteY15" fmla="*/ 617335 h 789976"/>
                <a:gd name="connsiteX16" fmla="*/ 168668 w 1015397"/>
                <a:gd name="connsiteY16" fmla="*/ 332229 h 789976"/>
                <a:gd name="connsiteX17" fmla="*/ 475157 w 1015397"/>
                <a:gd name="connsiteY17" fmla="*/ 154038 h 789976"/>
                <a:gd name="connsiteX18" fmla="*/ 726059 w 1015397"/>
                <a:gd name="connsiteY18" fmla="*/ 0 h 789976"/>
                <a:gd name="connsiteX0" fmla="*/ 726059 w 1008254"/>
                <a:gd name="connsiteY0" fmla="*/ 0 h 789976"/>
                <a:gd name="connsiteX1" fmla="*/ 997665 w 1008254"/>
                <a:gd name="connsiteY1" fmla="*/ 184059 h 789976"/>
                <a:gd name="connsiteX2" fmla="*/ 1008254 w 1008254"/>
                <a:gd name="connsiteY2" fmla="*/ 225413 h 789976"/>
                <a:gd name="connsiteX3" fmla="*/ 1008254 w 1008254"/>
                <a:gd name="connsiteY3" fmla="*/ 325394 h 789976"/>
                <a:gd name="connsiteX4" fmla="*/ 1001110 w 1008254"/>
                <a:gd name="connsiteY4" fmla="*/ 325870 h 789976"/>
                <a:gd name="connsiteX5" fmla="*/ 1008253 w 1008254"/>
                <a:gd name="connsiteY5" fmla="*/ 402070 h 789976"/>
                <a:gd name="connsiteX6" fmla="*/ 955866 w 1008254"/>
                <a:gd name="connsiteY6" fmla="*/ 406833 h 789976"/>
                <a:gd name="connsiteX7" fmla="*/ 958247 w 1008254"/>
                <a:gd name="connsiteY7" fmla="*/ 447313 h 789976"/>
                <a:gd name="connsiteX8" fmla="*/ 862997 w 1008254"/>
                <a:gd name="connsiteY8" fmla="*/ 449695 h 789976"/>
                <a:gd name="connsiteX9" fmla="*/ 860616 w 1008254"/>
                <a:gd name="connsiteY9" fmla="*/ 604476 h 789976"/>
                <a:gd name="connsiteX10" fmla="*/ 1008254 w 1008254"/>
                <a:gd name="connsiteY10" fmla="*/ 611291 h 789976"/>
                <a:gd name="connsiteX11" fmla="*/ 999782 w 1008254"/>
                <a:gd name="connsiteY11" fmla="*/ 635786 h 789976"/>
                <a:gd name="connsiteX12" fmla="*/ 843419 w 1008254"/>
                <a:gd name="connsiteY12" fmla="*/ 657726 h 789976"/>
                <a:gd name="connsiteX13" fmla="*/ 591575 w 1008254"/>
                <a:gd name="connsiteY13" fmla="*/ 707619 h 789976"/>
                <a:gd name="connsiteX14" fmla="*/ 216186 w 1008254"/>
                <a:gd name="connsiteY14" fmla="*/ 617335 h 789976"/>
                <a:gd name="connsiteX15" fmla="*/ 168668 w 1008254"/>
                <a:gd name="connsiteY15" fmla="*/ 332229 h 789976"/>
                <a:gd name="connsiteX16" fmla="*/ 475157 w 1008254"/>
                <a:gd name="connsiteY16" fmla="*/ 154038 h 789976"/>
                <a:gd name="connsiteX17" fmla="*/ 726059 w 1008254"/>
                <a:gd name="connsiteY17" fmla="*/ 0 h 789976"/>
                <a:gd name="connsiteX0" fmla="*/ 726059 w 1010635"/>
                <a:gd name="connsiteY0" fmla="*/ 0 h 789976"/>
                <a:gd name="connsiteX1" fmla="*/ 997665 w 1010635"/>
                <a:gd name="connsiteY1" fmla="*/ 184059 h 789976"/>
                <a:gd name="connsiteX2" fmla="*/ 1008254 w 1010635"/>
                <a:gd name="connsiteY2" fmla="*/ 225413 h 789976"/>
                <a:gd name="connsiteX3" fmla="*/ 1008254 w 1010635"/>
                <a:gd name="connsiteY3" fmla="*/ 325394 h 789976"/>
                <a:gd name="connsiteX4" fmla="*/ 1001110 w 1010635"/>
                <a:gd name="connsiteY4" fmla="*/ 325870 h 789976"/>
                <a:gd name="connsiteX5" fmla="*/ 1008253 w 1010635"/>
                <a:gd name="connsiteY5" fmla="*/ 402070 h 789976"/>
                <a:gd name="connsiteX6" fmla="*/ 955866 w 1010635"/>
                <a:gd name="connsiteY6" fmla="*/ 406833 h 789976"/>
                <a:gd name="connsiteX7" fmla="*/ 958247 w 1010635"/>
                <a:gd name="connsiteY7" fmla="*/ 447313 h 789976"/>
                <a:gd name="connsiteX8" fmla="*/ 862997 w 1010635"/>
                <a:gd name="connsiteY8" fmla="*/ 449695 h 789976"/>
                <a:gd name="connsiteX9" fmla="*/ 860616 w 1010635"/>
                <a:gd name="connsiteY9" fmla="*/ 604476 h 789976"/>
                <a:gd name="connsiteX10" fmla="*/ 1010635 w 1010635"/>
                <a:gd name="connsiteY10" fmla="*/ 604147 h 789976"/>
                <a:gd name="connsiteX11" fmla="*/ 999782 w 1010635"/>
                <a:gd name="connsiteY11" fmla="*/ 635786 h 789976"/>
                <a:gd name="connsiteX12" fmla="*/ 843419 w 1010635"/>
                <a:gd name="connsiteY12" fmla="*/ 657726 h 789976"/>
                <a:gd name="connsiteX13" fmla="*/ 591575 w 1010635"/>
                <a:gd name="connsiteY13" fmla="*/ 707619 h 789976"/>
                <a:gd name="connsiteX14" fmla="*/ 216186 w 1010635"/>
                <a:gd name="connsiteY14" fmla="*/ 617335 h 789976"/>
                <a:gd name="connsiteX15" fmla="*/ 168668 w 1010635"/>
                <a:gd name="connsiteY15" fmla="*/ 332229 h 789976"/>
                <a:gd name="connsiteX16" fmla="*/ 475157 w 1010635"/>
                <a:gd name="connsiteY16" fmla="*/ 154038 h 789976"/>
                <a:gd name="connsiteX17" fmla="*/ 726059 w 1010635"/>
                <a:gd name="connsiteY17" fmla="*/ 0 h 789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0635" h="789976">
                  <a:moveTo>
                    <a:pt x="726059" y="0"/>
                  </a:moveTo>
                  <a:cubicBezTo>
                    <a:pt x="842191" y="30"/>
                    <a:pt x="954994" y="71905"/>
                    <a:pt x="997665" y="184059"/>
                  </a:cubicBezTo>
                  <a:lnTo>
                    <a:pt x="1008254" y="225413"/>
                  </a:lnTo>
                  <a:lnTo>
                    <a:pt x="1008254" y="325394"/>
                  </a:lnTo>
                  <a:lnTo>
                    <a:pt x="1001110" y="325870"/>
                  </a:lnTo>
                  <a:lnTo>
                    <a:pt x="1008253" y="402070"/>
                  </a:lnTo>
                  <a:lnTo>
                    <a:pt x="955866" y="406833"/>
                  </a:lnTo>
                  <a:lnTo>
                    <a:pt x="958247" y="447313"/>
                  </a:lnTo>
                  <a:lnTo>
                    <a:pt x="862997" y="449695"/>
                  </a:lnTo>
                  <a:cubicBezTo>
                    <a:pt x="862203" y="506845"/>
                    <a:pt x="861410" y="547326"/>
                    <a:pt x="860616" y="604476"/>
                  </a:cubicBezTo>
                  <a:lnTo>
                    <a:pt x="1010635" y="604147"/>
                  </a:lnTo>
                  <a:lnTo>
                    <a:pt x="999782" y="635786"/>
                  </a:lnTo>
                  <a:cubicBezTo>
                    <a:pt x="969044" y="678515"/>
                    <a:pt x="912914" y="702867"/>
                    <a:pt x="843419" y="657726"/>
                  </a:cubicBezTo>
                  <a:cubicBezTo>
                    <a:pt x="814116" y="733754"/>
                    <a:pt x="715913" y="824037"/>
                    <a:pt x="591575" y="707619"/>
                  </a:cubicBezTo>
                  <a:cubicBezTo>
                    <a:pt x="542474" y="796319"/>
                    <a:pt x="289046" y="868387"/>
                    <a:pt x="216186" y="617335"/>
                  </a:cubicBezTo>
                  <a:cubicBezTo>
                    <a:pt x="-13483" y="717123"/>
                    <a:pt x="-105351" y="329853"/>
                    <a:pt x="168668" y="332229"/>
                  </a:cubicBezTo>
                  <a:cubicBezTo>
                    <a:pt x="95016" y="208683"/>
                    <a:pt x="292214" y="-21778"/>
                    <a:pt x="475157" y="154038"/>
                  </a:cubicBezTo>
                  <a:cubicBezTo>
                    <a:pt x="538118" y="45936"/>
                    <a:pt x="633153" y="-24"/>
                    <a:pt x="726059" y="0"/>
                  </a:cubicBezTo>
                  <a:close/>
                </a:path>
              </a:pathLst>
            </a:cu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0342" rIns="80684" bIns="40342" numCol="1" rtlCol="0" anchor="ctr" anchorCtr="0" compatLnSpc="1">
              <a:prstTxWarp prst="textNoShape">
                <a:avLst/>
              </a:prstTxWarp>
              <a:noAutofit/>
            </a:bodyPr>
            <a:lstStyle/>
            <a:p>
              <a:pPr algn="ctr" defTabSz="725313"/>
              <a:endParaRPr lang="en-US" sz="1667" spc="-120" dirty="0" err="1">
                <a:solidFill>
                  <a:srgbClr val="FFFFFF"/>
                </a:solidFill>
                <a:latin typeface="Segoe Light" pitchFamily="34" charset="0"/>
              </a:endParaRPr>
            </a:p>
          </p:txBody>
        </p:sp>
        <p:sp>
          <p:nvSpPr>
            <p:cNvPr id="14" name="Rectangle 21"/>
            <p:cNvSpPr/>
            <p:nvPr/>
          </p:nvSpPr>
          <p:spPr>
            <a:xfrm>
              <a:off x="4784999" y="5404348"/>
              <a:ext cx="539016" cy="523320"/>
            </a:xfrm>
            <a:custGeom>
              <a:avLst/>
              <a:gdLst>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424881 w 1538514"/>
                <a:gd name="connsiteY49" fmla="*/ 984767 h 1493713"/>
                <a:gd name="connsiteX50" fmla="*/ 766840 w 1538514"/>
                <a:gd name="connsiteY50" fmla="*/ 775661 h 1493713"/>
                <a:gd name="connsiteX51" fmla="*/ 754302 w 1538514"/>
                <a:gd name="connsiteY51" fmla="*/ 0 h 1493713"/>
                <a:gd name="connsiteX52" fmla="*/ 784212 w 1538514"/>
                <a:gd name="connsiteY52" fmla="*/ 0 h 1493713"/>
                <a:gd name="connsiteX53" fmla="*/ 800564 w 1538514"/>
                <a:gd name="connsiteY53" fmla="*/ 16352 h 1493713"/>
                <a:gd name="connsiteX54" fmla="*/ 800564 w 1538514"/>
                <a:gd name="connsiteY54" fmla="*/ 95334 h 1493713"/>
                <a:gd name="connsiteX55" fmla="*/ 836343 w 1538514"/>
                <a:gd name="connsiteY55" fmla="*/ 95334 h 1493713"/>
                <a:gd name="connsiteX56" fmla="*/ 836343 w 1538514"/>
                <a:gd name="connsiteY56" fmla="*/ 219073 h 1493713"/>
                <a:gd name="connsiteX57" fmla="*/ 1025376 w 1538514"/>
                <a:gd name="connsiteY57" fmla="*/ 445674 h 1493713"/>
                <a:gd name="connsiteX58" fmla="*/ 1042075 w 1538514"/>
                <a:gd name="connsiteY58" fmla="*/ 445674 h 1493713"/>
                <a:gd name="connsiteX59" fmla="*/ 1042075 w 1538514"/>
                <a:gd name="connsiteY59" fmla="*/ 564194 h 1493713"/>
                <a:gd name="connsiteX60" fmla="*/ 1071891 w 1538514"/>
                <a:gd name="connsiteY60" fmla="*/ 564194 h 1493713"/>
                <a:gd name="connsiteX61" fmla="*/ 1071891 w 1538514"/>
                <a:gd name="connsiteY61" fmla="*/ 752036 h 1493713"/>
                <a:gd name="connsiteX62" fmla="*/ 1113634 w 1538514"/>
                <a:gd name="connsiteY62" fmla="*/ 752036 h 1493713"/>
                <a:gd name="connsiteX63" fmla="*/ 1113634 w 1538514"/>
                <a:gd name="connsiteY63" fmla="*/ 909130 h 1493713"/>
                <a:gd name="connsiteX64" fmla="*/ 1018520 w 1538514"/>
                <a:gd name="connsiteY64" fmla="*/ 850969 h 1493713"/>
                <a:gd name="connsiteX65" fmla="*/ 1018520 w 1538514"/>
                <a:gd name="connsiteY65" fmla="*/ 640460 h 1493713"/>
                <a:gd name="connsiteX66" fmla="*/ 935176 w 1538514"/>
                <a:gd name="connsiteY66" fmla="*/ 640460 h 1493713"/>
                <a:gd name="connsiteX67" fmla="*/ 935176 w 1538514"/>
                <a:gd name="connsiteY67" fmla="*/ 800004 h 1493713"/>
                <a:gd name="connsiteX68" fmla="*/ 880127 w 1538514"/>
                <a:gd name="connsiteY68" fmla="*/ 766342 h 1493713"/>
                <a:gd name="connsiteX69" fmla="*/ 880127 w 1538514"/>
                <a:gd name="connsiteY69" fmla="*/ 640461 h 1493713"/>
                <a:gd name="connsiteX70" fmla="*/ 796783 w 1538514"/>
                <a:gd name="connsiteY70" fmla="*/ 640461 h 1493713"/>
                <a:gd name="connsiteX71" fmla="*/ 796783 w 1538514"/>
                <a:gd name="connsiteY71" fmla="*/ 715377 h 1493713"/>
                <a:gd name="connsiteX72" fmla="*/ 766840 w 1538514"/>
                <a:gd name="connsiteY72" fmla="*/ 697067 h 1493713"/>
                <a:gd name="connsiteX73" fmla="*/ 741733 w 1538514"/>
                <a:gd name="connsiteY73" fmla="*/ 712420 h 1493713"/>
                <a:gd name="connsiteX74" fmla="*/ 741733 w 1538514"/>
                <a:gd name="connsiteY74" fmla="*/ 640461 h 1493713"/>
                <a:gd name="connsiteX75" fmla="*/ 658389 w 1538514"/>
                <a:gd name="connsiteY75" fmla="*/ 640461 h 1493713"/>
                <a:gd name="connsiteX76" fmla="*/ 658389 w 1538514"/>
                <a:gd name="connsiteY76" fmla="*/ 763384 h 1493713"/>
                <a:gd name="connsiteX77" fmla="*/ 603339 w 1538514"/>
                <a:gd name="connsiteY77" fmla="*/ 797047 h 1493713"/>
                <a:gd name="connsiteX78" fmla="*/ 603339 w 1538514"/>
                <a:gd name="connsiteY78" fmla="*/ 640461 h 1493713"/>
                <a:gd name="connsiteX79" fmla="*/ 519995 w 1538514"/>
                <a:gd name="connsiteY79" fmla="*/ 640461 h 1493713"/>
                <a:gd name="connsiteX80" fmla="*/ 519995 w 1538514"/>
                <a:gd name="connsiteY80" fmla="*/ 848012 h 1493713"/>
                <a:gd name="connsiteX81" fmla="*/ 424881 w 1538514"/>
                <a:gd name="connsiteY81" fmla="*/ 906173 h 1493713"/>
                <a:gd name="connsiteX82" fmla="*/ 424881 w 1538514"/>
                <a:gd name="connsiteY82" fmla="*/ 752036 h 1493713"/>
                <a:gd name="connsiteX83" fmla="*/ 466623 w 1538514"/>
                <a:gd name="connsiteY83" fmla="*/ 752036 h 1493713"/>
                <a:gd name="connsiteX84" fmla="*/ 466623 w 1538514"/>
                <a:gd name="connsiteY84" fmla="*/ 564194 h 1493713"/>
                <a:gd name="connsiteX85" fmla="*/ 496439 w 1538514"/>
                <a:gd name="connsiteY85" fmla="*/ 564194 h 1493713"/>
                <a:gd name="connsiteX86" fmla="*/ 496439 w 1538514"/>
                <a:gd name="connsiteY86" fmla="*/ 445674 h 1493713"/>
                <a:gd name="connsiteX87" fmla="*/ 513138 w 1538514"/>
                <a:gd name="connsiteY87" fmla="*/ 445674 h 1493713"/>
                <a:gd name="connsiteX88" fmla="*/ 702171 w 1538514"/>
                <a:gd name="connsiteY88" fmla="*/ 219073 h 1493713"/>
                <a:gd name="connsiteX89" fmla="*/ 702171 w 1538514"/>
                <a:gd name="connsiteY89" fmla="*/ 95334 h 1493713"/>
                <a:gd name="connsiteX90" fmla="*/ 737950 w 1538514"/>
                <a:gd name="connsiteY90" fmla="*/ 95334 h 1493713"/>
                <a:gd name="connsiteX91" fmla="*/ 737950 w 1538514"/>
                <a:gd name="connsiteY91" fmla="*/ 16352 h 1493713"/>
                <a:gd name="connsiteX92" fmla="*/ 754302 w 1538514"/>
                <a:gd name="connsiteY92"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424881 w 1538514"/>
                <a:gd name="connsiteY48" fmla="*/ 986773 h 1493713"/>
                <a:gd name="connsiteX49" fmla="*/ 766840 w 1538514"/>
                <a:gd name="connsiteY49" fmla="*/ 775661 h 1493713"/>
                <a:gd name="connsiteX50" fmla="*/ 754302 w 1538514"/>
                <a:gd name="connsiteY50" fmla="*/ 0 h 1493713"/>
                <a:gd name="connsiteX51" fmla="*/ 784212 w 1538514"/>
                <a:gd name="connsiteY51" fmla="*/ 0 h 1493713"/>
                <a:gd name="connsiteX52" fmla="*/ 800564 w 1538514"/>
                <a:gd name="connsiteY52" fmla="*/ 16352 h 1493713"/>
                <a:gd name="connsiteX53" fmla="*/ 800564 w 1538514"/>
                <a:gd name="connsiteY53" fmla="*/ 95334 h 1493713"/>
                <a:gd name="connsiteX54" fmla="*/ 836343 w 1538514"/>
                <a:gd name="connsiteY54" fmla="*/ 95334 h 1493713"/>
                <a:gd name="connsiteX55" fmla="*/ 836343 w 1538514"/>
                <a:gd name="connsiteY55" fmla="*/ 219073 h 1493713"/>
                <a:gd name="connsiteX56" fmla="*/ 1025376 w 1538514"/>
                <a:gd name="connsiteY56" fmla="*/ 445674 h 1493713"/>
                <a:gd name="connsiteX57" fmla="*/ 1042075 w 1538514"/>
                <a:gd name="connsiteY57" fmla="*/ 445674 h 1493713"/>
                <a:gd name="connsiteX58" fmla="*/ 1042075 w 1538514"/>
                <a:gd name="connsiteY58" fmla="*/ 564194 h 1493713"/>
                <a:gd name="connsiteX59" fmla="*/ 1071891 w 1538514"/>
                <a:gd name="connsiteY59" fmla="*/ 564194 h 1493713"/>
                <a:gd name="connsiteX60" fmla="*/ 1071891 w 1538514"/>
                <a:gd name="connsiteY60" fmla="*/ 752036 h 1493713"/>
                <a:gd name="connsiteX61" fmla="*/ 1113634 w 1538514"/>
                <a:gd name="connsiteY61" fmla="*/ 752036 h 1493713"/>
                <a:gd name="connsiteX62" fmla="*/ 1113634 w 1538514"/>
                <a:gd name="connsiteY62" fmla="*/ 909130 h 1493713"/>
                <a:gd name="connsiteX63" fmla="*/ 1018520 w 1538514"/>
                <a:gd name="connsiteY63" fmla="*/ 850969 h 1493713"/>
                <a:gd name="connsiteX64" fmla="*/ 1018520 w 1538514"/>
                <a:gd name="connsiteY64" fmla="*/ 640460 h 1493713"/>
                <a:gd name="connsiteX65" fmla="*/ 935176 w 1538514"/>
                <a:gd name="connsiteY65" fmla="*/ 640460 h 1493713"/>
                <a:gd name="connsiteX66" fmla="*/ 935176 w 1538514"/>
                <a:gd name="connsiteY66" fmla="*/ 800004 h 1493713"/>
                <a:gd name="connsiteX67" fmla="*/ 880127 w 1538514"/>
                <a:gd name="connsiteY67" fmla="*/ 766342 h 1493713"/>
                <a:gd name="connsiteX68" fmla="*/ 880127 w 1538514"/>
                <a:gd name="connsiteY68" fmla="*/ 640461 h 1493713"/>
                <a:gd name="connsiteX69" fmla="*/ 796783 w 1538514"/>
                <a:gd name="connsiteY69" fmla="*/ 640461 h 1493713"/>
                <a:gd name="connsiteX70" fmla="*/ 796783 w 1538514"/>
                <a:gd name="connsiteY70" fmla="*/ 715377 h 1493713"/>
                <a:gd name="connsiteX71" fmla="*/ 766840 w 1538514"/>
                <a:gd name="connsiteY71" fmla="*/ 697067 h 1493713"/>
                <a:gd name="connsiteX72" fmla="*/ 741733 w 1538514"/>
                <a:gd name="connsiteY72" fmla="*/ 712420 h 1493713"/>
                <a:gd name="connsiteX73" fmla="*/ 741733 w 1538514"/>
                <a:gd name="connsiteY73" fmla="*/ 640461 h 1493713"/>
                <a:gd name="connsiteX74" fmla="*/ 658389 w 1538514"/>
                <a:gd name="connsiteY74" fmla="*/ 640461 h 1493713"/>
                <a:gd name="connsiteX75" fmla="*/ 658389 w 1538514"/>
                <a:gd name="connsiteY75" fmla="*/ 763384 h 1493713"/>
                <a:gd name="connsiteX76" fmla="*/ 603339 w 1538514"/>
                <a:gd name="connsiteY76" fmla="*/ 797047 h 1493713"/>
                <a:gd name="connsiteX77" fmla="*/ 603339 w 1538514"/>
                <a:gd name="connsiteY77" fmla="*/ 640461 h 1493713"/>
                <a:gd name="connsiteX78" fmla="*/ 519995 w 1538514"/>
                <a:gd name="connsiteY78" fmla="*/ 640461 h 1493713"/>
                <a:gd name="connsiteX79" fmla="*/ 519995 w 1538514"/>
                <a:gd name="connsiteY79" fmla="*/ 848012 h 1493713"/>
                <a:gd name="connsiteX80" fmla="*/ 424881 w 1538514"/>
                <a:gd name="connsiteY80" fmla="*/ 906173 h 1493713"/>
                <a:gd name="connsiteX81" fmla="*/ 424881 w 1538514"/>
                <a:gd name="connsiteY81" fmla="*/ 752036 h 1493713"/>
                <a:gd name="connsiteX82" fmla="*/ 466623 w 1538514"/>
                <a:gd name="connsiteY82" fmla="*/ 752036 h 1493713"/>
                <a:gd name="connsiteX83" fmla="*/ 466623 w 1538514"/>
                <a:gd name="connsiteY83" fmla="*/ 564194 h 1493713"/>
                <a:gd name="connsiteX84" fmla="*/ 496439 w 1538514"/>
                <a:gd name="connsiteY84" fmla="*/ 564194 h 1493713"/>
                <a:gd name="connsiteX85" fmla="*/ 496439 w 1538514"/>
                <a:gd name="connsiteY85" fmla="*/ 445674 h 1493713"/>
                <a:gd name="connsiteX86" fmla="*/ 513138 w 1538514"/>
                <a:gd name="connsiteY86" fmla="*/ 445674 h 1493713"/>
                <a:gd name="connsiteX87" fmla="*/ 702171 w 1538514"/>
                <a:gd name="connsiteY87" fmla="*/ 219073 h 1493713"/>
                <a:gd name="connsiteX88" fmla="*/ 702171 w 1538514"/>
                <a:gd name="connsiteY88" fmla="*/ 95334 h 1493713"/>
                <a:gd name="connsiteX89" fmla="*/ 737950 w 1538514"/>
                <a:gd name="connsiteY89" fmla="*/ 95334 h 1493713"/>
                <a:gd name="connsiteX90" fmla="*/ 737950 w 1538514"/>
                <a:gd name="connsiteY90" fmla="*/ 16352 h 1493713"/>
                <a:gd name="connsiteX91" fmla="*/ 754302 w 1538514"/>
                <a:gd name="connsiteY91"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21732 w 1538514"/>
                <a:gd name="connsiteY41" fmla="*/ 992676 h 1493713"/>
                <a:gd name="connsiteX42" fmla="*/ 1166727 w 1538514"/>
                <a:gd name="connsiteY42" fmla="*/ 1019636 h 1493713"/>
                <a:gd name="connsiteX43" fmla="*/ 1250788 w 1538514"/>
                <a:gd name="connsiteY43" fmla="*/ 1019636 h 1493713"/>
                <a:gd name="connsiteX44" fmla="*/ 1250788 w 1538514"/>
                <a:gd name="connsiteY44" fmla="*/ 1493713 h 1493713"/>
                <a:gd name="connsiteX45" fmla="*/ 287726 w 1538514"/>
                <a:gd name="connsiteY45" fmla="*/ 1493713 h 1493713"/>
                <a:gd name="connsiteX46" fmla="*/ 287726 w 1538514"/>
                <a:gd name="connsiteY46" fmla="*/ 1019636 h 1493713"/>
                <a:gd name="connsiteX47" fmla="*/ 371787 w 1538514"/>
                <a:gd name="connsiteY47" fmla="*/ 1019636 h 1493713"/>
                <a:gd name="connsiteX48" fmla="*/ 766840 w 1538514"/>
                <a:gd name="connsiteY48" fmla="*/ 775661 h 1493713"/>
                <a:gd name="connsiteX49" fmla="*/ 754302 w 1538514"/>
                <a:gd name="connsiteY49" fmla="*/ 0 h 1493713"/>
                <a:gd name="connsiteX50" fmla="*/ 784212 w 1538514"/>
                <a:gd name="connsiteY50" fmla="*/ 0 h 1493713"/>
                <a:gd name="connsiteX51" fmla="*/ 800564 w 1538514"/>
                <a:gd name="connsiteY51" fmla="*/ 16352 h 1493713"/>
                <a:gd name="connsiteX52" fmla="*/ 800564 w 1538514"/>
                <a:gd name="connsiteY52" fmla="*/ 95334 h 1493713"/>
                <a:gd name="connsiteX53" fmla="*/ 836343 w 1538514"/>
                <a:gd name="connsiteY53" fmla="*/ 95334 h 1493713"/>
                <a:gd name="connsiteX54" fmla="*/ 836343 w 1538514"/>
                <a:gd name="connsiteY54" fmla="*/ 219073 h 1493713"/>
                <a:gd name="connsiteX55" fmla="*/ 1025376 w 1538514"/>
                <a:gd name="connsiteY55" fmla="*/ 445674 h 1493713"/>
                <a:gd name="connsiteX56" fmla="*/ 1042075 w 1538514"/>
                <a:gd name="connsiteY56" fmla="*/ 445674 h 1493713"/>
                <a:gd name="connsiteX57" fmla="*/ 1042075 w 1538514"/>
                <a:gd name="connsiteY57" fmla="*/ 564194 h 1493713"/>
                <a:gd name="connsiteX58" fmla="*/ 1071891 w 1538514"/>
                <a:gd name="connsiteY58" fmla="*/ 564194 h 1493713"/>
                <a:gd name="connsiteX59" fmla="*/ 1071891 w 1538514"/>
                <a:gd name="connsiteY59" fmla="*/ 752036 h 1493713"/>
                <a:gd name="connsiteX60" fmla="*/ 1113634 w 1538514"/>
                <a:gd name="connsiteY60" fmla="*/ 752036 h 1493713"/>
                <a:gd name="connsiteX61" fmla="*/ 1113634 w 1538514"/>
                <a:gd name="connsiteY61" fmla="*/ 909130 h 1493713"/>
                <a:gd name="connsiteX62" fmla="*/ 1018520 w 1538514"/>
                <a:gd name="connsiteY62" fmla="*/ 850969 h 1493713"/>
                <a:gd name="connsiteX63" fmla="*/ 1018520 w 1538514"/>
                <a:gd name="connsiteY63" fmla="*/ 640460 h 1493713"/>
                <a:gd name="connsiteX64" fmla="*/ 935176 w 1538514"/>
                <a:gd name="connsiteY64" fmla="*/ 640460 h 1493713"/>
                <a:gd name="connsiteX65" fmla="*/ 935176 w 1538514"/>
                <a:gd name="connsiteY65" fmla="*/ 800004 h 1493713"/>
                <a:gd name="connsiteX66" fmla="*/ 880127 w 1538514"/>
                <a:gd name="connsiteY66" fmla="*/ 766342 h 1493713"/>
                <a:gd name="connsiteX67" fmla="*/ 880127 w 1538514"/>
                <a:gd name="connsiteY67" fmla="*/ 640461 h 1493713"/>
                <a:gd name="connsiteX68" fmla="*/ 796783 w 1538514"/>
                <a:gd name="connsiteY68" fmla="*/ 640461 h 1493713"/>
                <a:gd name="connsiteX69" fmla="*/ 796783 w 1538514"/>
                <a:gd name="connsiteY69" fmla="*/ 715377 h 1493713"/>
                <a:gd name="connsiteX70" fmla="*/ 766840 w 1538514"/>
                <a:gd name="connsiteY70" fmla="*/ 697067 h 1493713"/>
                <a:gd name="connsiteX71" fmla="*/ 741733 w 1538514"/>
                <a:gd name="connsiteY71" fmla="*/ 712420 h 1493713"/>
                <a:gd name="connsiteX72" fmla="*/ 741733 w 1538514"/>
                <a:gd name="connsiteY72" fmla="*/ 640461 h 1493713"/>
                <a:gd name="connsiteX73" fmla="*/ 658389 w 1538514"/>
                <a:gd name="connsiteY73" fmla="*/ 640461 h 1493713"/>
                <a:gd name="connsiteX74" fmla="*/ 658389 w 1538514"/>
                <a:gd name="connsiteY74" fmla="*/ 763384 h 1493713"/>
                <a:gd name="connsiteX75" fmla="*/ 603339 w 1538514"/>
                <a:gd name="connsiteY75" fmla="*/ 797047 h 1493713"/>
                <a:gd name="connsiteX76" fmla="*/ 603339 w 1538514"/>
                <a:gd name="connsiteY76" fmla="*/ 640461 h 1493713"/>
                <a:gd name="connsiteX77" fmla="*/ 519995 w 1538514"/>
                <a:gd name="connsiteY77" fmla="*/ 640461 h 1493713"/>
                <a:gd name="connsiteX78" fmla="*/ 519995 w 1538514"/>
                <a:gd name="connsiteY78" fmla="*/ 848012 h 1493713"/>
                <a:gd name="connsiteX79" fmla="*/ 424881 w 1538514"/>
                <a:gd name="connsiteY79" fmla="*/ 906173 h 1493713"/>
                <a:gd name="connsiteX80" fmla="*/ 424881 w 1538514"/>
                <a:gd name="connsiteY80" fmla="*/ 752036 h 1493713"/>
                <a:gd name="connsiteX81" fmla="*/ 466623 w 1538514"/>
                <a:gd name="connsiteY81" fmla="*/ 752036 h 1493713"/>
                <a:gd name="connsiteX82" fmla="*/ 466623 w 1538514"/>
                <a:gd name="connsiteY82" fmla="*/ 564194 h 1493713"/>
                <a:gd name="connsiteX83" fmla="*/ 496439 w 1538514"/>
                <a:gd name="connsiteY83" fmla="*/ 564194 h 1493713"/>
                <a:gd name="connsiteX84" fmla="*/ 496439 w 1538514"/>
                <a:gd name="connsiteY84" fmla="*/ 445674 h 1493713"/>
                <a:gd name="connsiteX85" fmla="*/ 513138 w 1538514"/>
                <a:gd name="connsiteY85" fmla="*/ 445674 h 1493713"/>
                <a:gd name="connsiteX86" fmla="*/ 702171 w 1538514"/>
                <a:gd name="connsiteY86" fmla="*/ 219073 h 1493713"/>
                <a:gd name="connsiteX87" fmla="*/ 702171 w 1538514"/>
                <a:gd name="connsiteY87" fmla="*/ 95334 h 1493713"/>
                <a:gd name="connsiteX88" fmla="*/ 737950 w 1538514"/>
                <a:gd name="connsiteY88" fmla="*/ 95334 h 1493713"/>
                <a:gd name="connsiteX89" fmla="*/ 737950 w 1538514"/>
                <a:gd name="connsiteY89" fmla="*/ 16352 h 1493713"/>
                <a:gd name="connsiteX90" fmla="*/ 754302 w 1538514"/>
                <a:gd name="connsiteY90" fmla="*/ 0 h 1493713"/>
                <a:gd name="connsiteX0" fmla="*/ 1308929 w 1538514"/>
                <a:gd name="connsiteY0" fmla="*/ 1112066 h 1493713"/>
                <a:gd name="connsiteX1" fmla="*/ 1538514 w 1538514"/>
                <a:gd name="connsiteY1" fmla="*/ 1112066 h 1493713"/>
                <a:gd name="connsiteX2" fmla="*/ 1538514 w 1538514"/>
                <a:gd name="connsiteY2" fmla="*/ 1493713 h 1493713"/>
                <a:gd name="connsiteX3" fmla="*/ 1308929 w 1538514"/>
                <a:gd name="connsiteY3" fmla="*/ 1493713 h 1493713"/>
                <a:gd name="connsiteX4" fmla="*/ 1308929 w 1538514"/>
                <a:gd name="connsiteY4" fmla="*/ 1112066 h 1493713"/>
                <a:gd name="connsiteX5" fmla="*/ 0 w 1538514"/>
                <a:gd name="connsiteY5" fmla="*/ 1112066 h 1493713"/>
                <a:gd name="connsiteX6" fmla="*/ 229585 w 1538514"/>
                <a:gd name="connsiteY6" fmla="*/ 1112066 h 1493713"/>
                <a:gd name="connsiteX7" fmla="*/ 229585 w 1538514"/>
                <a:gd name="connsiteY7" fmla="*/ 1493713 h 1493713"/>
                <a:gd name="connsiteX8" fmla="*/ 0 w 1538514"/>
                <a:gd name="connsiteY8" fmla="*/ 1493713 h 1493713"/>
                <a:gd name="connsiteX9" fmla="*/ 0 w 1538514"/>
                <a:gd name="connsiteY9" fmla="*/ 1112066 h 1493713"/>
                <a:gd name="connsiteX10" fmla="*/ 1107301 w 1538514"/>
                <a:gd name="connsiteY10" fmla="*/ 1054797 h 1493713"/>
                <a:gd name="connsiteX11" fmla="*/ 1107301 w 1538514"/>
                <a:gd name="connsiteY11" fmla="*/ 1292922 h 1493713"/>
                <a:gd name="connsiteX12" fmla="*/ 1190645 w 1538514"/>
                <a:gd name="connsiteY12" fmla="*/ 1292922 h 1493713"/>
                <a:gd name="connsiteX13" fmla="*/ 1190645 w 1538514"/>
                <a:gd name="connsiteY13" fmla="*/ 1054797 h 1493713"/>
                <a:gd name="connsiteX14" fmla="*/ 1107301 w 1538514"/>
                <a:gd name="connsiteY14" fmla="*/ 1054797 h 1493713"/>
                <a:gd name="connsiteX15" fmla="*/ 955414 w 1538514"/>
                <a:gd name="connsiteY15" fmla="*/ 1054797 h 1493713"/>
                <a:gd name="connsiteX16" fmla="*/ 955414 w 1538514"/>
                <a:gd name="connsiteY16" fmla="*/ 1292922 h 1493713"/>
                <a:gd name="connsiteX17" fmla="*/ 1038758 w 1538514"/>
                <a:gd name="connsiteY17" fmla="*/ 1292922 h 1493713"/>
                <a:gd name="connsiteX18" fmla="*/ 1038758 w 1538514"/>
                <a:gd name="connsiteY18" fmla="*/ 1054797 h 1493713"/>
                <a:gd name="connsiteX19" fmla="*/ 955414 w 1538514"/>
                <a:gd name="connsiteY19" fmla="*/ 1054797 h 1493713"/>
                <a:gd name="connsiteX20" fmla="*/ 803528 w 1538514"/>
                <a:gd name="connsiteY20" fmla="*/ 1054797 h 1493713"/>
                <a:gd name="connsiteX21" fmla="*/ 803528 w 1538514"/>
                <a:gd name="connsiteY21" fmla="*/ 1292922 h 1493713"/>
                <a:gd name="connsiteX22" fmla="*/ 886872 w 1538514"/>
                <a:gd name="connsiteY22" fmla="*/ 1292922 h 1493713"/>
                <a:gd name="connsiteX23" fmla="*/ 886872 w 1538514"/>
                <a:gd name="connsiteY23" fmla="*/ 1054797 h 1493713"/>
                <a:gd name="connsiteX24" fmla="*/ 803528 w 1538514"/>
                <a:gd name="connsiteY24" fmla="*/ 1054797 h 1493713"/>
                <a:gd name="connsiteX25" fmla="*/ 651642 w 1538514"/>
                <a:gd name="connsiteY25" fmla="*/ 1054797 h 1493713"/>
                <a:gd name="connsiteX26" fmla="*/ 651642 w 1538514"/>
                <a:gd name="connsiteY26" fmla="*/ 1292922 h 1493713"/>
                <a:gd name="connsiteX27" fmla="*/ 734986 w 1538514"/>
                <a:gd name="connsiteY27" fmla="*/ 1292922 h 1493713"/>
                <a:gd name="connsiteX28" fmla="*/ 734986 w 1538514"/>
                <a:gd name="connsiteY28" fmla="*/ 1054797 h 1493713"/>
                <a:gd name="connsiteX29" fmla="*/ 651642 w 1538514"/>
                <a:gd name="connsiteY29" fmla="*/ 1054797 h 1493713"/>
                <a:gd name="connsiteX30" fmla="*/ 499756 w 1538514"/>
                <a:gd name="connsiteY30" fmla="*/ 1054797 h 1493713"/>
                <a:gd name="connsiteX31" fmla="*/ 499756 w 1538514"/>
                <a:gd name="connsiteY31" fmla="*/ 1292922 h 1493713"/>
                <a:gd name="connsiteX32" fmla="*/ 583100 w 1538514"/>
                <a:gd name="connsiteY32" fmla="*/ 1292922 h 1493713"/>
                <a:gd name="connsiteX33" fmla="*/ 583100 w 1538514"/>
                <a:gd name="connsiteY33" fmla="*/ 1054797 h 1493713"/>
                <a:gd name="connsiteX34" fmla="*/ 499756 w 1538514"/>
                <a:gd name="connsiteY34" fmla="*/ 1054797 h 1493713"/>
                <a:gd name="connsiteX35" fmla="*/ 347870 w 1538514"/>
                <a:gd name="connsiteY35" fmla="*/ 1054797 h 1493713"/>
                <a:gd name="connsiteX36" fmla="*/ 347870 w 1538514"/>
                <a:gd name="connsiteY36" fmla="*/ 1292922 h 1493713"/>
                <a:gd name="connsiteX37" fmla="*/ 431214 w 1538514"/>
                <a:gd name="connsiteY37" fmla="*/ 1292922 h 1493713"/>
                <a:gd name="connsiteX38" fmla="*/ 431214 w 1538514"/>
                <a:gd name="connsiteY38" fmla="*/ 1054797 h 1493713"/>
                <a:gd name="connsiteX39" fmla="*/ 347870 w 1538514"/>
                <a:gd name="connsiteY39" fmla="*/ 1054797 h 1493713"/>
                <a:gd name="connsiteX40" fmla="*/ 766840 w 1538514"/>
                <a:gd name="connsiteY40" fmla="*/ 775661 h 1493713"/>
                <a:gd name="connsiteX41" fmla="*/ 1166727 w 1538514"/>
                <a:gd name="connsiteY41" fmla="*/ 1019636 h 1493713"/>
                <a:gd name="connsiteX42" fmla="*/ 1250788 w 1538514"/>
                <a:gd name="connsiteY42" fmla="*/ 1019636 h 1493713"/>
                <a:gd name="connsiteX43" fmla="*/ 1250788 w 1538514"/>
                <a:gd name="connsiteY43" fmla="*/ 1493713 h 1493713"/>
                <a:gd name="connsiteX44" fmla="*/ 287726 w 1538514"/>
                <a:gd name="connsiteY44" fmla="*/ 1493713 h 1493713"/>
                <a:gd name="connsiteX45" fmla="*/ 287726 w 1538514"/>
                <a:gd name="connsiteY45" fmla="*/ 1019636 h 1493713"/>
                <a:gd name="connsiteX46" fmla="*/ 371787 w 1538514"/>
                <a:gd name="connsiteY46" fmla="*/ 1019636 h 1493713"/>
                <a:gd name="connsiteX47" fmla="*/ 766840 w 1538514"/>
                <a:gd name="connsiteY47" fmla="*/ 775661 h 1493713"/>
                <a:gd name="connsiteX48" fmla="*/ 754302 w 1538514"/>
                <a:gd name="connsiteY48" fmla="*/ 0 h 1493713"/>
                <a:gd name="connsiteX49" fmla="*/ 784212 w 1538514"/>
                <a:gd name="connsiteY49" fmla="*/ 0 h 1493713"/>
                <a:gd name="connsiteX50" fmla="*/ 800564 w 1538514"/>
                <a:gd name="connsiteY50" fmla="*/ 16352 h 1493713"/>
                <a:gd name="connsiteX51" fmla="*/ 800564 w 1538514"/>
                <a:gd name="connsiteY51" fmla="*/ 95334 h 1493713"/>
                <a:gd name="connsiteX52" fmla="*/ 836343 w 1538514"/>
                <a:gd name="connsiteY52" fmla="*/ 95334 h 1493713"/>
                <a:gd name="connsiteX53" fmla="*/ 836343 w 1538514"/>
                <a:gd name="connsiteY53" fmla="*/ 219073 h 1493713"/>
                <a:gd name="connsiteX54" fmla="*/ 1025376 w 1538514"/>
                <a:gd name="connsiteY54" fmla="*/ 445674 h 1493713"/>
                <a:gd name="connsiteX55" fmla="*/ 1042075 w 1538514"/>
                <a:gd name="connsiteY55" fmla="*/ 445674 h 1493713"/>
                <a:gd name="connsiteX56" fmla="*/ 1042075 w 1538514"/>
                <a:gd name="connsiteY56" fmla="*/ 564194 h 1493713"/>
                <a:gd name="connsiteX57" fmla="*/ 1071891 w 1538514"/>
                <a:gd name="connsiteY57" fmla="*/ 564194 h 1493713"/>
                <a:gd name="connsiteX58" fmla="*/ 1071891 w 1538514"/>
                <a:gd name="connsiteY58" fmla="*/ 752036 h 1493713"/>
                <a:gd name="connsiteX59" fmla="*/ 1113634 w 1538514"/>
                <a:gd name="connsiteY59" fmla="*/ 752036 h 1493713"/>
                <a:gd name="connsiteX60" fmla="*/ 1113634 w 1538514"/>
                <a:gd name="connsiteY60" fmla="*/ 909130 h 1493713"/>
                <a:gd name="connsiteX61" fmla="*/ 1018520 w 1538514"/>
                <a:gd name="connsiteY61" fmla="*/ 850969 h 1493713"/>
                <a:gd name="connsiteX62" fmla="*/ 1018520 w 1538514"/>
                <a:gd name="connsiteY62" fmla="*/ 640460 h 1493713"/>
                <a:gd name="connsiteX63" fmla="*/ 935176 w 1538514"/>
                <a:gd name="connsiteY63" fmla="*/ 640460 h 1493713"/>
                <a:gd name="connsiteX64" fmla="*/ 935176 w 1538514"/>
                <a:gd name="connsiteY64" fmla="*/ 800004 h 1493713"/>
                <a:gd name="connsiteX65" fmla="*/ 880127 w 1538514"/>
                <a:gd name="connsiteY65" fmla="*/ 766342 h 1493713"/>
                <a:gd name="connsiteX66" fmla="*/ 880127 w 1538514"/>
                <a:gd name="connsiteY66" fmla="*/ 640461 h 1493713"/>
                <a:gd name="connsiteX67" fmla="*/ 796783 w 1538514"/>
                <a:gd name="connsiteY67" fmla="*/ 640461 h 1493713"/>
                <a:gd name="connsiteX68" fmla="*/ 796783 w 1538514"/>
                <a:gd name="connsiteY68" fmla="*/ 715377 h 1493713"/>
                <a:gd name="connsiteX69" fmla="*/ 766840 w 1538514"/>
                <a:gd name="connsiteY69" fmla="*/ 697067 h 1493713"/>
                <a:gd name="connsiteX70" fmla="*/ 741733 w 1538514"/>
                <a:gd name="connsiteY70" fmla="*/ 712420 h 1493713"/>
                <a:gd name="connsiteX71" fmla="*/ 741733 w 1538514"/>
                <a:gd name="connsiteY71" fmla="*/ 640461 h 1493713"/>
                <a:gd name="connsiteX72" fmla="*/ 658389 w 1538514"/>
                <a:gd name="connsiteY72" fmla="*/ 640461 h 1493713"/>
                <a:gd name="connsiteX73" fmla="*/ 658389 w 1538514"/>
                <a:gd name="connsiteY73" fmla="*/ 763384 h 1493713"/>
                <a:gd name="connsiteX74" fmla="*/ 603339 w 1538514"/>
                <a:gd name="connsiteY74" fmla="*/ 797047 h 1493713"/>
                <a:gd name="connsiteX75" fmla="*/ 603339 w 1538514"/>
                <a:gd name="connsiteY75" fmla="*/ 640461 h 1493713"/>
                <a:gd name="connsiteX76" fmla="*/ 519995 w 1538514"/>
                <a:gd name="connsiteY76" fmla="*/ 640461 h 1493713"/>
                <a:gd name="connsiteX77" fmla="*/ 519995 w 1538514"/>
                <a:gd name="connsiteY77" fmla="*/ 848012 h 1493713"/>
                <a:gd name="connsiteX78" fmla="*/ 424881 w 1538514"/>
                <a:gd name="connsiteY78" fmla="*/ 906173 h 1493713"/>
                <a:gd name="connsiteX79" fmla="*/ 424881 w 1538514"/>
                <a:gd name="connsiteY79" fmla="*/ 752036 h 1493713"/>
                <a:gd name="connsiteX80" fmla="*/ 466623 w 1538514"/>
                <a:gd name="connsiteY80" fmla="*/ 752036 h 1493713"/>
                <a:gd name="connsiteX81" fmla="*/ 466623 w 1538514"/>
                <a:gd name="connsiteY81" fmla="*/ 564194 h 1493713"/>
                <a:gd name="connsiteX82" fmla="*/ 496439 w 1538514"/>
                <a:gd name="connsiteY82" fmla="*/ 564194 h 1493713"/>
                <a:gd name="connsiteX83" fmla="*/ 496439 w 1538514"/>
                <a:gd name="connsiteY83" fmla="*/ 445674 h 1493713"/>
                <a:gd name="connsiteX84" fmla="*/ 513138 w 1538514"/>
                <a:gd name="connsiteY84" fmla="*/ 445674 h 1493713"/>
                <a:gd name="connsiteX85" fmla="*/ 702171 w 1538514"/>
                <a:gd name="connsiteY85" fmla="*/ 219073 h 1493713"/>
                <a:gd name="connsiteX86" fmla="*/ 702171 w 1538514"/>
                <a:gd name="connsiteY86" fmla="*/ 95334 h 1493713"/>
                <a:gd name="connsiteX87" fmla="*/ 737950 w 1538514"/>
                <a:gd name="connsiteY87" fmla="*/ 95334 h 1493713"/>
                <a:gd name="connsiteX88" fmla="*/ 737950 w 1538514"/>
                <a:gd name="connsiteY88" fmla="*/ 16352 h 1493713"/>
                <a:gd name="connsiteX89" fmla="*/ 754302 w 1538514"/>
                <a:gd name="connsiteY89" fmla="*/ 0 h 149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538514" h="1493713">
                  <a:moveTo>
                    <a:pt x="1308929" y="1112066"/>
                  </a:moveTo>
                  <a:lnTo>
                    <a:pt x="1538514" y="1112066"/>
                  </a:lnTo>
                  <a:lnTo>
                    <a:pt x="1538514" y="1493713"/>
                  </a:lnTo>
                  <a:lnTo>
                    <a:pt x="1308929" y="1493713"/>
                  </a:lnTo>
                  <a:lnTo>
                    <a:pt x="1308929" y="1112066"/>
                  </a:lnTo>
                  <a:close/>
                  <a:moveTo>
                    <a:pt x="0" y="1112066"/>
                  </a:moveTo>
                  <a:lnTo>
                    <a:pt x="229585" y="1112066"/>
                  </a:lnTo>
                  <a:lnTo>
                    <a:pt x="229585" y="1493713"/>
                  </a:lnTo>
                  <a:lnTo>
                    <a:pt x="0" y="1493713"/>
                  </a:lnTo>
                  <a:lnTo>
                    <a:pt x="0" y="1112066"/>
                  </a:lnTo>
                  <a:close/>
                  <a:moveTo>
                    <a:pt x="1107301" y="1054797"/>
                  </a:moveTo>
                  <a:lnTo>
                    <a:pt x="1107301" y="1292922"/>
                  </a:lnTo>
                  <a:lnTo>
                    <a:pt x="1190645" y="1292922"/>
                  </a:lnTo>
                  <a:lnTo>
                    <a:pt x="1190645" y="1054797"/>
                  </a:lnTo>
                  <a:lnTo>
                    <a:pt x="1107301" y="1054797"/>
                  </a:lnTo>
                  <a:close/>
                  <a:moveTo>
                    <a:pt x="955414" y="1054797"/>
                  </a:moveTo>
                  <a:lnTo>
                    <a:pt x="955414" y="1292922"/>
                  </a:lnTo>
                  <a:lnTo>
                    <a:pt x="1038758" y="1292922"/>
                  </a:lnTo>
                  <a:lnTo>
                    <a:pt x="1038758" y="1054797"/>
                  </a:lnTo>
                  <a:lnTo>
                    <a:pt x="955414" y="1054797"/>
                  </a:lnTo>
                  <a:close/>
                  <a:moveTo>
                    <a:pt x="803528" y="1054797"/>
                  </a:moveTo>
                  <a:lnTo>
                    <a:pt x="803528" y="1292922"/>
                  </a:lnTo>
                  <a:lnTo>
                    <a:pt x="886872" y="1292922"/>
                  </a:lnTo>
                  <a:lnTo>
                    <a:pt x="886872" y="1054797"/>
                  </a:lnTo>
                  <a:lnTo>
                    <a:pt x="803528" y="1054797"/>
                  </a:lnTo>
                  <a:close/>
                  <a:moveTo>
                    <a:pt x="651642" y="1054797"/>
                  </a:moveTo>
                  <a:lnTo>
                    <a:pt x="651642" y="1292922"/>
                  </a:lnTo>
                  <a:lnTo>
                    <a:pt x="734986" y="1292922"/>
                  </a:lnTo>
                  <a:lnTo>
                    <a:pt x="734986" y="1054797"/>
                  </a:lnTo>
                  <a:lnTo>
                    <a:pt x="651642" y="1054797"/>
                  </a:lnTo>
                  <a:close/>
                  <a:moveTo>
                    <a:pt x="499756" y="1054797"/>
                  </a:moveTo>
                  <a:lnTo>
                    <a:pt x="499756" y="1292922"/>
                  </a:lnTo>
                  <a:lnTo>
                    <a:pt x="583100" y="1292922"/>
                  </a:lnTo>
                  <a:lnTo>
                    <a:pt x="583100" y="1054797"/>
                  </a:lnTo>
                  <a:lnTo>
                    <a:pt x="499756" y="1054797"/>
                  </a:lnTo>
                  <a:close/>
                  <a:moveTo>
                    <a:pt x="347870" y="1054797"/>
                  </a:moveTo>
                  <a:lnTo>
                    <a:pt x="347870" y="1292922"/>
                  </a:lnTo>
                  <a:lnTo>
                    <a:pt x="431214" y="1292922"/>
                  </a:lnTo>
                  <a:lnTo>
                    <a:pt x="431214" y="1054797"/>
                  </a:lnTo>
                  <a:lnTo>
                    <a:pt x="347870" y="1054797"/>
                  </a:lnTo>
                  <a:close/>
                  <a:moveTo>
                    <a:pt x="766840" y="775661"/>
                  </a:moveTo>
                  <a:lnTo>
                    <a:pt x="1166727" y="1019636"/>
                  </a:lnTo>
                  <a:lnTo>
                    <a:pt x="1250788" y="1019636"/>
                  </a:lnTo>
                  <a:lnTo>
                    <a:pt x="1250788" y="1493713"/>
                  </a:lnTo>
                  <a:lnTo>
                    <a:pt x="287726" y="1493713"/>
                  </a:lnTo>
                  <a:lnTo>
                    <a:pt x="287726" y="1019636"/>
                  </a:lnTo>
                  <a:lnTo>
                    <a:pt x="371787" y="1019636"/>
                  </a:lnTo>
                  <a:lnTo>
                    <a:pt x="766840" y="775661"/>
                  </a:lnTo>
                  <a:close/>
                  <a:moveTo>
                    <a:pt x="754302" y="0"/>
                  </a:moveTo>
                  <a:lnTo>
                    <a:pt x="784212" y="0"/>
                  </a:lnTo>
                  <a:cubicBezTo>
                    <a:pt x="793243" y="0"/>
                    <a:pt x="800564" y="7321"/>
                    <a:pt x="800564" y="16352"/>
                  </a:cubicBezTo>
                  <a:lnTo>
                    <a:pt x="800564" y="95334"/>
                  </a:lnTo>
                  <a:lnTo>
                    <a:pt x="836343" y="95334"/>
                  </a:lnTo>
                  <a:lnTo>
                    <a:pt x="836343" y="219073"/>
                  </a:lnTo>
                  <a:cubicBezTo>
                    <a:pt x="943289" y="239580"/>
                    <a:pt x="1024217" y="333044"/>
                    <a:pt x="1025376" y="445674"/>
                  </a:cubicBezTo>
                  <a:lnTo>
                    <a:pt x="1042075" y="445674"/>
                  </a:lnTo>
                  <a:lnTo>
                    <a:pt x="1042075" y="564194"/>
                  </a:lnTo>
                  <a:lnTo>
                    <a:pt x="1071891" y="564194"/>
                  </a:lnTo>
                  <a:lnTo>
                    <a:pt x="1071891" y="752036"/>
                  </a:lnTo>
                  <a:lnTo>
                    <a:pt x="1113634" y="752036"/>
                  </a:lnTo>
                  <a:lnTo>
                    <a:pt x="1113634" y="909130"/>
                  </a:lnTo>
                  <a:lnTo>
                    <a:pt x="1018520" y="850969"/>
                  </a:lnTo>
                  <a:lnTo>
                    <a:pt x="1018520" y="640460"/>
                  </a:lnTo>
                  <a:lnTo>
                    <a:pt x="935176" y="640460"/>
                  </a:lnTo>
                  <a:lnTo>
                    <a:pt x="935176" y="800004"/>
                  </a:lnTo>
                  <a:lnTo>
                    <a:pt x="880127" y="766342"/>
                  </a:lnTo>
                  <a:lnTo>
                    <a:pt x="880127" y="640461"/>
                  </a:lnTo>
                  <a:lnTo>
                    <a:pt x="796783" y="640461"/>
                  </a:lnTo>
                  <a:lnTo>
                    <a:pt x="796783" y="715377"/>
                  </a:lnTo>
                  <a:lnTo>
                    <a:pt x="766840" y="697067"/>
                  </a:lnTo>
                  <a:lnTo>
                    <a:pt x="741733" y="712420"/>
                  </a:lnTo>
                  <a:lnTo>
                    <a:pt x="741733" y="640461"/>
                  </a:lnTo>
                  <a:lnTo>
                    <a:pt x="658389" y="640461"/>
                  </a:lnTo>
                  <a:lnTo>
                    <a:pt x="658389" y="763384"/>
                  </a:lnTo>
                  <a:lnTo>
                    <a:pt x="603339" y="797047"/>
                  </a:lnTo>
                  <a:lnTo>
                    <a:pt x="603339" y="640461"/>
                  </a:lnTo>
                  <a:lnTo>
                    <a:pt x="519995" y="640461"/>
                  </a:lnTo>
                  <a:lnTo>
                    <a:pt x="519995" y="848012"/>
                  </a:lnTo>
                  <a:lnTo>
                    <a:pt x="424881" y="906173"/>
                  </a:lnTo>
                  <a:lnTo>
                    <a:pt x="424881" y="752036"/>
                  </a:lnTo>
                  <a:lnTo>
                    <a:pt x="466623" y="752036"/>
                  </a:lnTo>
                  <a:lnTo>
                    <a:pt x="466623" y="564194"/>
                  </a:lnTo>
                  <a:lnTo>
                    <a:pt x="496439" y="564194"/>
                  </a:lnTo>
                  <a:lnTo>
                    <a:pt x="496439" y="445674"/>
                  </a:lnTo>
                  <a:lnTo>
                    <a:pt x="513138" y="445674"/>
                  </a:lnTo>
                  <a:cubicBezTo>
                    <a:pt x="514297" y="333044"/>
                    <a:pt x="595225" y="239580"/>
                    <a:pt x="702171" y="219073"/>
                  </a:cubicBezTo>
                  <a:lnTo>
                    <a:pt x="702171" y="95334"/>
                  </a:lnTo>
                  <a:lnTo>
                    <a:pt x="737950" y="95334"/>
                  </a:lnTo>
                  <a:lnTo>
                    <a:pt x="737950" y="16352"/>
                  </a:lnTo>
                  <a:cubicBezTo>
                    <a:pt x="737950" y="7321"/>
                    <a:pt x="745271" y="0"/>
                    <a:pt x="75430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844"/>
              <a:endParaRPr lang="en-US" sz="1176" dirty="0" err="1">
                <a:solidFill>
                  <a:srgbClr val="FFFFFF"/>
                </a:solidFill>
              </a:endParaRPr>
            </a:p>
          </p:txBody>
        </p:sp>
      </p:grpSp>
    </p:spTree>
    <p:extLst>
      <p:ext uri="{BB962C8B-B14F-4D97-AF65-F5344CB8AC3E}">
        <p14:creationId xmlns:p14="http://schemas.microsoft.com/office/powerpoint/2010/main" val="3469207529"/>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060819" y="1191609"/>
            <a:ext cx="2474274" cy="5188124"/>
            <a:chOff x="5162299" y="1215006"/>
            <a:chExt cx="2523888" cy="5292157"/>
          </a:xfrm>
        </p:grpSpPr>
        <p:sp>
          <p:nvSpPr>
            <p:cNvPr id="85" name="Freeform 18"/>
            <p:cNvSpPr>
              <a:spLocks noEditPoints="1"/>
            </p:cNvSpPr>
            <p:nvPr/>
          </p:nvSpPr>
          <p:spPr bwMode="auto">
            <a:xfrm>
              <a:off x="5187080" y="1215006"/>
              <a:ext cx="2359152" cy="5292157"/>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r>
                <a:rPr lang="en-US" sz="2353" dirty="0">
                  <a:solidFill>
                    <a:srgbClr val="FFFFFF"/>
                  </a:solidFill>
                  <a:latin typeface="Segoe UI Light"/>
                  <a:ea typeface="Segoe UI" pitchFamily="34" charset="0"/>
                  <a:cs typeface="Segoe UI Semibold" panose="020B0702040204020203" pitchFamily="34" charset="0"/>
                </a:rPr>
                <a:t>Fabric</a:t>
              </a:r>
            </a:p>
          </p:txBody>
        </p:sp>
        <p:sp>
          <p:nvSpPr>
            <p:cNvPr id="146" name="Freeform 18"/>
            <p:cNvSpPr>
              <a:spLocks noEditPoints="1"/>
            </p:cNvSpPr>
            <p:nvPr/>
          </p:nvSpPr>
          <p:spPr bwMode="auto">
            <a:xfrm>
              <a:off x="5187080" y="1657350"/>
              <a:ext cx="2359152" cy="4759482"/>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US" sz="2353" dirty="0">
                <a:solidFill>
                  <a:srgbClr val="FFFFFF"/>
                </a:solidFill>
                <a:latin typeface="Segoe UI Light"/>
                <a:ea typeface="Segoe UI" pitchFamily="34" charset="0"/>
                <a:cs typeface="Segoe UI Semibold" panose="020B0702040204020203" pitchFamily="34" charset="0"/>
              </a:endParaRPr>
            </a:p>
          </p:txBody>
        </p:sp>
        <p:grpSp>
          <p:nvGrpSpPr>
            <p:cNvPr id="94" name="Group 93"/>
            <p:cNvGrpSpPr/>
            <p:nvPr/>
          </p:nvGrpSpPr>
          <p:grpSpPr>
            <a:xfrm>
              <a:off x="6548624" y="1773319"/>
              <a:ext cx="917584" cy="725329"/>
              <a:chOff x="6546378" y="1906669"/>
              <a:chExt cx="917584" cy="725329"/>
            </a:xfrm>
          </p:grpSpPr>
          <p:sp>
            <p:nvSpPr>
              <p:cNvPr id="205" name="TextBox 204"/>
              <p:cNvSpPr txBox="1"/>
              <p:nvPr/>
            </p:nvSpPr>
            <p:spPr>
              <a:xfrm>
                <a:off x="6546378" y="2462383"/>
                <a:ext cx="917584" cy="169615"/>
              </a:xfrm>
              <a:prstGeom prst="rect">
                <a:avLst/>
              </a:prstGeom>
              <a:noFill/>
            </p:spPr>
            <p:txBody>
              <a:bodyPr wrap="square" lIns="0" tIns="0" rIns="0" bIns="0" rtlCol="0">
                <a:spAutoFit/>
              </a:bodyPr>
              <a:lstStyle/>
              <a:p>
                <a:pPr defTabSz="913679">
                  <a:spcBef>
                    <a:spcPct val="20000"/>
                  </a:spcBef>
                  <a:buSzPct val="80000"/>
                </a:pPr>
                <a:r>
                  <a:rPr lang="en-US" sz="1078" dirty="0">
                    <a:solidFill>
                      <a:srgbClr val="008272"/>
                    </a:solidFill>
                  </a:rPr>
                  <a:t>C</a:t>
                </a:r>
                <a:r>
                  <a:rPr lang="en-US" sz="1078" dirty="0">
                    <a:solidFill>
                      <a:srgbClr val="008272"/>
                    </a:solidFill>
                  </a:rPr>
                  <a:t>loud services</a:t>
                </a:r>
                <a:endParaRPr lang="en-US" sz="1078" dirty="0">
                  <a:solidFill>
                    <a:srgbClr val="008272"/>
                  </a:solidFill>
                </a:endParaRPr>
              </a:p>
            </p:txBody>
          </p:sp>
          <p:sp>
            <p:nvSpPr>
              <p:cNvPr id="235" name="Oval 16"/>
              <p:cNvSpPr/>
              <p:nvPr/>
            </p:nvSpPr>
            <p:spPr>
              <a:xfrm>
                <a:off x="6645627" y="1906669"/>
                <a:ext cx="710001" cy="415428"/>
              </a:xfrm>
              <a:custGeom>
                <a:avLst/>
                <a:gdLst/>
                <a:ahLst/>
                <a:cxnLst/>
                <a:rect l="l" t="t" r="r" b="b"/>
                <a:pathLst>
                  <a:path w="5557783" h="3251905">
                    <a:moveTo>
                      <a:pt x="4341564" y="2631674"/>
                    </a:moveTo>
                    <a:lnTo>
                      <a:pt x="4341564" y="3122089"/>
                    </a:lnTo>
                    <a:lnTo>
                      <a:pt x="4805284" y="3205748"/>
                    </a:lnTo>
                    <a:lnTo>
                      <a:pt x="4805284" y="2657637"/>
                    </a:lnTo>
                    <a:close/>
                    <a:moveTo>
                      <a:pt x="3115128" y="2631674"/>
                    </a:moveTo>
                    <a:lnTo>
                      <a:pt x="3115128" y="3122089"/>
                    </a:lnTo>
                    <a:lnTo>
                      <a:pt x="3578848" y="3205748"/>
                    </a:lnTo>
                    <a:lnTo>
                      <a:pt x="3578848" y="2657637"/>
                    </a:lnTo>
                    <a:close/>
                    <a:moveTo>
                      <a:pt x="1264705" y="2631673"/>
                    </a:moveTo>
                    <a:lnTo>
                      <a:pt x="1264705" y="3122088"/>
                    </a:lnTo>
                    <a:lnTo>
                      <a:pt x="1728425" y="3205747"/>
                    </a:lnTo>
                    <a:lnTo>
                      <a:pt x="1728425" y="2657636"/>
                    </a:lnTo>
                    <a:close/>
                    <a:moveTo>
                      <a:pt x="38268" y="2631673"/>
                    </a:moveTo>
                    <a:lnTo>
                      <a:pt x="38268" y="3122088"/>
                    </a:lnTo>
                    <a:lnTo>
                      <a:pt x="501988" y="3205747"/>
                    </a:lnTo>
                    <a:lnTo>
                      <a:pt x="501988" y="2657636"/>
                    </a:lnTo>
                    <a:close/>
                    <a:moveTo>
                      <a:pt x="4341564" y="2494646"/>
                    </a:moveTo>
                    <a:lnTo>
                      <a:pt x="4341564" y="2589845"/>
                    </a:lnTo>
                    <a:lnTo>
                      <a:pt x="4807535" y="2612923"/>
                    </a:lnTo>
                    <a:lnTo>
                      <a:pt x="4807535" y="2501858"/>
                    </a:lnTo>
                    <a:close/>
                    <a:moveTo>
                      <a:pt x="3115128" y="2494646"/>
                    </a:moveTo>
                    <a:lnTo>
                      <a:pt x="3115128" y="2589845"/>
                    </a:lnTo>
                    <a:lnTo>
                      <a:pt x="3581099" y="2612923"/>
                    </a:lnTo>
                    <a:lnTo>
                      <a:pt x="3581099" y="2501858"/>
                    </a:lnTo>
                    <a:close/>
                    <a:moveTo>
                      <a:pt x="1264705" y="2494645"/>
                    </a:moveTo>
                    <a:lnTo>
                      <a:pt x="1264705" y="2589844"/>
                    </a:lnTo>
                    <a:lnTo>
                      <a:pt x="1730676" y="2612922"/>
                    </a:lnTo>
                    <a:lnTo>
                      <a:pt x="1730676" y="2501857"/>
                    </a:lnTo>
                    <a:close/>
                    <a:moveTo>
                      <a:pt x="38268" y="2494645"/>
                    </a:moveTo>
                    <a:lnTo>
                      <a:pt x="38268" y="2589844"/>
                    </a:lnTo>
                    <a:lnTo>
                      <a:pt x="504239" y="2612922"/>
                    </a:lnTo>
                    <a:lnTo>
                      <a:pt x="504239" y="2501857"/>
                    </a:lnTo>
                    <a:close/>
                    <a:moveTo>
                      <a:pt x="4807535" y="2350407"/>
                    </a:moveTo>
                    <a:lnTo>
                      <a:pt x="4342690" y="2356176"/>
                    </a:lnTo>
                    <a:lnTo>
                      <a:pt x="4342690" y="2451375"/>
                    </a:lnTo>
                    <a:lnTo>
                      <a:pt x="4807535" y="2461471"/>
                    </a:lnTo>
                    <a:close/>
                    <a:moveTo>
                      <a:pt x="3581099" y="2350407"/>
                    </a:moveTo>
                    <a:lnTo>
                      <a:pt x="3116254" y="2356176"/>
                    </a:lnTo>
                    <a:lnTo>
                      <a:pt x="3116254" y="2451375"/>
                    </a:lnTo>
                    <a:lnTo>
                      <a:pt x="3581099" y="2461471"/>
                    </a:lnTo>
                    <a:close/>
                    <a:moveTo>
                      <a:pt x="1730676" y="2350406"/>
                    </a:moveTo>
                    <a:lnTo>
                      <a:pt x="1265831" y="2356175"/>
                    </a:lnTo>
                    <a:lnTo>
                      <a:pt x="1265831" y="2451374"/>
                    </a:lnTo>
                    <a:lnTo>
                      <a:pt x="1730676" y="2461470"/>
                    </a:lnTo>
                    <a:close/>
                    <a:moveTo>
                      <a:pt x="504239" y="2350406"/>
                    </a:moveTo>
                    <a:lnTo>
                      <a:pt x="39394" y="2356175"/>
                    </a:lnTo>
                    <a:lnTo>
                      <a:pt x="39394" y="2451374"/>
                    </a:lnTo>
                    <a:lnTo>
                      <a:pt x="504239" y="2461470"/>
                    </a:lnTo>
                    <a:close/>
                    <a:moveTo>
                      <a:pt x="4809786" y="2196070"/>
                    </a:moveTo>
                    <a:lnTo>
                      <a:pt x="4342690" y="2219148"/>
                    </a:lnTo>
                    <a:lnTo>
                      <a:pt x="4342690" y="2315789"/>
                    </a:lnTo>
                    <a:lnTo>
                      <a:pt x="4809786" y="2307135"/>
                    </a:lnTo>
                    <a:close/>
                    <a:moveTo>
                      <a:pt x="3583350" y="2196070"/>
                    </a:moveTo>
                    <a:lnTo>
                      <a:pt x="3116254" y="2219148"/>
                    </a:lnTo>
                    <a:lnTo>
                      <a:pt x="3116254" y="2315789"/>
                    </a:lnTo>
                    <a:lnTo>
                      <a:pt x="3583350" y="2307135"/>
                    </a:lnTo>
                    <a:close/>
                    <a:moveTo>
                      <a:pt x="1732927" y="2196069"/>
                    </a:moveTo>
                    <a:lnTo>
                      <a:pt x="1265831" y="2219147"/>
                    </a:lnTo>
                    <a:lnTo>
                      <a:pt x="1265831" y="2315788"/>
                    </a:lnTo>
                    <a:lnTo>
                      <a:pt x="1732927" y="2307134"/>
                    </a:lnTo>
                    <a:close/>
                    <a:moveTo>
                      <a:pt x="506490" y="2196069"/>
                    </a:moveTo>
                    <a:lnTo>
                      <a:pt x="39394" y="2219147"/>
                    </a:lnTo>
                    <a:lnTo>
                      <a:pt x="39394" y="2315788"/>
                    </a:lnTo>
                    <a:lnTo>
                      <a:pt x="506490" y="2307134"/>
                    </a:lnTo>
                    <a:close/>
                    <a:moveTo>
                      <a:pt x="4810912" y="2041734"/>
                    </a:moveTo>
                    <a:lnTo>
                      <a:pt x="4344941" y="2080678"/>
                    </a:lnTo>
                    <a:lnTo>
                      <a:pt x="4344941" y="2180204"/>
                    </a:lnTo>
                    <a:lnTo>
                      <a:pt x="4810912" y="2152798"/>
                    </a:lnTo>
                    <a:close/>
                    <a:moveTo>
                      <a:pt x="3584476" y="2041734"/>
                    </a:moveTo>
                    <a:lnTo>
                      <a:pt x="3118505" y="2080678"/>
                    </a:lnTo>
                    <a:lnTo>
                      <a:pt x="3118505" y="2180204"/>
                    </a:lnTo>
                    <a:lnTo>
                      <a:pt x="3584476" y="2152798"/>
                    </a:lnTo>
                    <a:close/>
                    <a:moveTo>
                      <a:pt x="1734053" y="2041733"/>
                    </a:moveTo>
                    <a:lnTo>
                      <a:pt x="1268082" y="2080677"/>
                    </a:lnTo>
                    <a:lnTo>
                      <a:pt x="1268082" y="2180203"/>
                    </a:lnTo>
                    <a:lnTo>
                      <a:pt x="1734053" y="2152797"/>
                    </a:lnTo>
                    <a:close/>
                    <a:moveTo>
                      <a:pt x="507616" y="2041733"/>
                    </a:moveTo>
                    <a:lnTo>
                      <a:pt x="41645" y="2080677"/>
                    </a:lnTo>
                    <a:lnTo>
                      <a:pt x="41645" y="2180203"/>
                    </a:lnTo>
                    <a:lnTo>
                      <a:pt x="507616" y="2152797"/>
                    </a:lnTo>
                    <a:close/>
                    <a:moveTo>
                      <a:pt x="4810912" y="1890282"/>
                    </a:moveTo>
                    <a:lnTo>
                      <a:pt x="4346067" y="1943651"/>
                    </a:lnTo>
                    <a:lnTo>
                      <a:pt x="4346067" y="2044618"/>
                    </a:lnTo>
                    <a:lnTo>
                      <a:pt x="4810912" y="2002789"/>
                    </a:lnTo>
                    <a:close/>
                    <a:moveTo>
                      <a:pt x="3584476" y="1890282"/>
                    </a:moveTo>
                    <a:lnTo>
                      <a:pt x="3119631" y="1943651"/>
                    </a:lnTo>
                    <a:lnTo>
                      <a:pt x="3119631" y="2044618"/>
                    </a:lnTo>
                    <a:lnTo>
                      <a:pt x="3584476" y="2002789"/>
                    </a:lnTo>
                    <a:close/>
                    <a:moveTo>
                      <a:pt x="1734053" y="1890281"/>
                    </a:moveTo>
                    <a:lnTo>
                      <a:pt x="1269207" y="1943650"/>
                    </a:lnTo>
                    <a:lnTo>
                      <a:pt x="1269207" y="2044617"/>
                    </a:lnTo>
                    <a:lnTo>
                      <a:pt x="1734053" y="2002788"/>
                    </a:lnTo>
                    <a:close/>
                    <a:moveTo>
                      <a:pt x="507616" y="1890281"/>
                    </a:moveTo>
                    <a:lnTo>
                      <a:pt x="42770" y="1943650"/>
                    </a:lnTo>
                    <a:lnTo>
                      <a:pt x="42770" y="2044617"/>
                    </a:lnTo>
                    <a:lnTo>
                      <a:pt x="507616" y="2002788"/>
                    </a:lnTo>
                    <a:close/>
                    <a:moveTo>
                      <a:pt x="4812037" y="1737388"/>
                    </a:moveTo>
                    <a:lnTo>
                      <a:pt x="4347192" y="1808065"/>
                    </a:lnTo>
                    <a:lnTo>
                      <a:pt x="4347192" y="1904706"/>
                    </a:lnTo>
                    <a:lnTo>
                      <a:pt x="4812037" y="1847010"/>
                    </a:lnTo>
                    <a:close/>
                    <a:moveTo>
                      <a:pt x="3585601" y="1737388"/>
                    </a:moveTo>
                    <a:lnTo>
                      <a:pt x="3120756" y="1808065"/>
                    </a:lnTo>
                    <a:lnTo>
                      <a:pt x="3120756" y="1904706"/>
                    </a:lnTo>
                    <a:lnTo>
                      <a:pt x="3585601" y="1847010"/>
                    </a:lnTo>
                    <a:close/>
                    <a:moveTo>
                      <a:pt x="1735178" y="1737387"/>
                    </a:moveTo>
                    <a:lnTo>
                      <a:pt x="1270333" y="1808064"/>
                    </a:lnTo>
                    <a:lnTo>
                      <a:pt x="1270333" y="1904705"/>
                    </a:lnTo>
                    <a:lnTo>
                      <a:pt x="1735178" y="1847009"/>
                    </a:lnTo>
                    <a:close/>
                    <a:moveTo>
                      <a:pt x="508741" y="1737387"/>
                    </a:moveTo>
                    <a:lnTo>
                      <a:pt x="43896" y="1808064"/>
                    </a:lnTo>
                    <a:lnTo>
                      <a:pt x="43896" y="1904705"/>
                    </a:lnTo>
                    <a:lnTo>
                      <a:pt x="508741" y="1847009"/>
                    </a:lnTo>
                    <a:close/>
                    <a:moveTo>
                      <a:pt x="4859310" y="1688346"/>
                    </a:moveTo>
                    <a:lnTo>
                      <a:pt x="5140693" y="1803738"/>
                    </a:lnTo>
                    <a:lnTo>
                      <a:pt x="5129438" y="3122089"/>
                    </a:lnTo>
                    <a:lnTo>
                      <a:pt x="4843552" y="3251905"/>
                    </a:lnTo>
                    <a:lnTo>
                      <a:pt x="4303296" y="3148053"/>
                    </a:lnTo>
                    <a:lnTo>
                      <a:pt x="4303296" y="1777775"/>
                    </a:lnTo>
                    <a:close/>
                    <a:moveTo>
                      <a:pt x="3632874" y="1688346"/>
                    </a:moveTo>
                    <a:lnTo>
                      <a:pt x="3914257" y="1803738"/>
                    </a:lnTo>
                    <a:lnTo>
                      <a:pt x="3903002" y="3122089"/>
                    </a:lnTo>
                    <a:lnTo>
                      <a:pt x="3617116" y="3251905"/>
                    </a:lnTo>
                    <a:lnTo>
                      <a:pt x="3076860" y="3148053"/>
                    </a:lnTo>
                    <a:lnTo>
                      <a:pt x="3076860" y="1777775"/>
                    </a:lnTo>
                    <a:close/>
                    <a:moveTo>
                      <a:pt x="1782451" y="1688345"/>
                    </a:moveTo>
                    <a:lnTo>
                      <a:pt x="2063834" y="1803737"/>
                    </a:lnTo>
                    <a:lnTo>
                      <a:pt x="2052579" y="3122088"/>
                    </a:lnTo>
                    <a:lnTo>
                      <a:pt x="1766693" y="3251904"/>
                    </a:lnTo>
                    <a:lnTo>
                      <a:pt x="1226437" y="3148052"/>
                    </a:lnTo>
                    <a:lnTo>
                      <a:pt x="1226437" y="1777774"/>
                    </a:lnTo>
                    <a:close/>
                    <a:moveTo>
                      <a:pt x="556014" y="1688345"/>
                    </a:moveTo>
                    <a:lnTo>
                      <a:pt x="837397" y="1803737"/>
                    </a:lnTo>
                    <a:lnTo>
                      <a:pt x="826142" y="3122088"/>
                    </a:lnTo>
                    <a:lnTo>
                      <a:pt x="540256" y="3251904"/>
                    </a:lnTo>
                    <a:lnTo>
                      <a:pt x="0" y="3148052"/>
                    </a:lnTo>
                    <a:lnTo>
                      <a:pt x="0" y="1777774"/>
                    </a:lnTo>
                    <a:close/>
                    <a:moveTo>
                      <a:pt x="4675734" y="1268160"/>
                    </a:moveTo>
                    <a:cubicBezTo>
                      <a:pt x="4750598" y="1268160"/>
                      <a:pt x="4811288" y="1328850"/>
                      <a:pt x="4811288" y="1403714"/>
                    </a:cubicBezTo>
                    <a:cubicBezTo>
                      <a:pt x="4811288" y="1478578"/>
                      <a:pt x="4750598" y="1539268"/>
                      <a:pt x="4675734" y="1539268"/>
                    </a:cubicBezTo>
                    <a:cubicBezTo>
                      <a:pt x="4600870" y="1539268"/>
                      <a:pt x="4540180" y="1478578"/>
                      <a:pt x="4540180" y="1403714"/>
                    </a:cubicBezTo>
                    <a:cubicBezTo>
                      <a:pt x="4540180" y="1328850"/>
                      <a:pt x="4600870" y="1268160"/>
                      <a:pt x="4675734" y="1268160"/>
                    </a:cubicBezTo>
                    <a:close/>
                    <a:moveTo>
                      <a:pt x="3528908" y="1268160"/>
                    </a:moveTo>
                    <a:cubicBezTo>
                      <a:pt x="3603772" y="1268160"/>
                      <a:pt x="3664462" y="1328850"/>
                      <a:pt x="3664462" y="1403714"/>
                    </a:cubicBezTo>
                    <a:cubicBezTo>
                      <a:pt x="3664462" y="1478578"/>
                      <a:pt x="3603772" y="1539268"/>
                      <a:pt x="3528908" y="1539268"/>
                    </a:cubicBezTo>
                    <a:cubicBezTo>
                      <a:pt x="3454044" y="1539268"/>
                      <a:pt x="3393354" y="1478578"/>
                      <a:pt x="3393354" y="1403714"/>
                    </a:cubicBezTo>
                    <a:cubicBezTo>
                      <a:pt x="3393354" y="1328850"/>
                      <a:pt x="3454044" y="1268160"/>
                      <a:pt x="3528908" y="1268160"/>
                    </a:cubicBezTo>
                    <a:close/>
                    <a:moveTo>
                      <a:pt x="1598875" y="1268159"/>
                    </a:moveTo>
                    <a:cubicBezTo>
                      <a:pt x="1673739" y="1268159"/>
                      <a:pt x="1734429" y="1328849"/>
                      <a:pt x="1734429" y="1403713"/>
                    </a:cubicBezTo>
                    <a:cubicBezTo>
                      <a:pt x="1734429" y="1478577"/>
                      <a:pt x="1673739" y="1539267"/>
                      <a:pt x="1598875" y="1539267"/>
                    </a:cubicBezTo>
                    <a:cubicBezTo>
                      <a:pt x="1524011" y="1539267"/>
                      <a:pt x="1463321" y="1478577"/>
                      <a:pt x="1463321" y="1403713"/>
                    </a:cubicBezTo>
                    <a:cubicBezTo>
                      <a:pt x="1463321" y="1328849"/>
                      <a:pt x="1524011" y="1268159"/>
                      <a:pt x="1598875" y="1268159"/>
                    </a:cubicBezTo>
                    <a:close/>
                    <a:moveTo>
                      <a:pt x="452049" y="1268159"/>
                    </a:moveTo>
                    <a:cubicBezTo>
                      <a:pt x="526913" y="1268159"/>
                      <a:pt x="587603" y="1328849"/>
                      <a:pt x="587603" y="1403713"/>
                    </a:cubicBezTo>
                    <a:cubicBezTo>
                      <a:pt x="587603" y="1478577"/>
                      <a:pt x="526913" y="1539267"/>
                      <a:pt x="452049" y="1539267"/>
                    </a:cubicBezTo>
                    <a:cubicBezTo>
                      <a:pt x="377185" y="1539267"/>
                      <a:pt x="316495" y="1478577"/>
                      <a:pt x="316495" y="1403713"/>
                    </a:cubicBezTo>
                    <a:cubicBezTo>
                      <a:pt x="316495" y="1328849"/>
                      <a:pt x="377185" y="1268159"/>
                      <a:pt x="452049" y="1268159"/>
                    </a:cubicBezTo>
                    <a:close/>
                    <a:moveTo>
                      <a:pt x="3734058" y="958229"/>
                    </a:moveTo>
                    <a:cubicBezTo>
                      <a:pt x="3790207" y="958229"/>
                      <a:pt x="3835724" y="1003746"/>
                      <a:pt x="3835724" y="1059895"/>
                    </a:cubicBezTo>
                    <a:cubicBezTo>
                      <a:pt x="3835724" y="1116044"/>
                      <a:pt x="3790207" y="1161561"/>
                      <a:pt x="3734058" y="1161561"/>
                    </a:cubicBezTo>
                    <a:cubicBezTo>
                      <a:pt x="3677909" y="1161561"/>
                      <a:pt x="3632392" y="1116044"/>
                      <a:pt x="3632392" y="1059895"/>
                    </a:cubicBezTo>
                    <a:cubicBezTo>
                      <a:pt x="3632392" y="1003746"/>
                      <a:pt x="3677909" y="958229"/>
                      <a:pt x="3734058" y="958229"/>
                    </a:cubicBezTo>
                    <a:close/>
                    <a:moveTo>
                      <a:pt x="1403617" y="958229"/>
                    </a:moveTo>
                    <a:cubicBezTo>
                      <a:pt x="1459766" y="958229"/>
                      <a:pt x="1505283" y="1003746"/>
                      <a:pt x="1505283" y="1059895"/>
                    </a:cubicBezTo>
                    <a:cubicBezTo>
                      <a:pt x="1505283" y="1116044"/>
                      <a:pt x="1459766" y="1161561"/>
                      <a:pt x="1403617" y="1161561"/>
                    </a:cubicBezTo>
                    <a:cubicBezTo>
                      <a:pt x="1347468" y="1161561"/>
                      <a:pt x="1301951" y="1116044"/>
                      <a:pt x="1301951" y="1059895"/>
                    </a:cubicBezTo>
                    <a:cubicBezTo>
                      <a:pt x="1301951" y="1003746"/>
                      <a:pt x="1347468" y="958229"/>
                      <a:pt x="1403617" y="958229"/>
                    </a:cubicBezTo>
                    <a:close/>
                    <a:moveTo>
                      <a:pt x="657201" y="958229"/>
                    </a:moveTo>
                    <a:cubicBezTo>
                      <a:pt x="713350" y="958229"/>
                      <a:pt x="758867" y="1003746"/>
                      <a:pt x="758867" y="1059895"/>
                    </a:cubicBezTo>
                    <a:cubicBezTo>
                      <a:pt x="758867" y="1116044"/>
                      <a:pt x="713350" y="1161561"/>
                      <a:pt x="657201" y="1161561"/>
                    </a:cubicBezTo>
                    <a:cubicBezTo>
                      <a:pt x="601052" y="1161561"/>
                      <a:pt x="555535" y="1116044"/>
                      <a:pt x="555535" y="1059895"/>
                    </a:cubicBezTo>
                    <a:cubicBezTo>
                      <a:pt x="555535" y="1003746"/>
                      <a:pt x="601052" y="958229"/>
                      <a:pt x="657201" y="958229"/>
                    </a:cubicBezTo>
                    <a:close/>
                    <a:moveTo>
                      <a:pt x="4480472" y="958227"/>
                    </a:moveTo>
                    <a:cubicBezTo>
                      <a:pt x="4536621" y="958227"/>
                      <a:pt x="4582138" y="1003744"/>
                      <a:pt x="4582138" y="1059893"/>
                    </a:cubicBezTo>
                    <a:cubicBezTo>
                      <a:pt x="4582138" y="1116042"/>
                      <a:pt x="4536621" y="1161559"/>
                      <a:pt x="4480472" y="1161559"/>
                    </a:cubicBezTo>
                    <a:cubicBezTo>
                      <a:pt x="4424323" y="1161559"/>
                      <a:pt x="4378806" y="1116042"/>
                      <a:pt x="4378806" y="1059893"/>
                    </a:cubicBezTo>
                    <a:cubicBezTo>
                      <a:pt x="4378806" y="1003744"/>
                      <a:pt x="4424323" y="958227"/>
                      <a:pt x="4480472" y="958227"/>
                    </a:cubicBezTo>
                    <a:close/>
                    <a:moveTo>
                      <a:pt x="671721" y="908593"/>
                    </a:moveTo>
                    <a:cubicBezTo>
                      <a:pt x="596856" y="908593"/>
                      <a:pt x="536166" y="969282"/>
                      <a:pt x="536166" y="1044147"/>
                    </a:cubicBezTo>
                    <a:cubicBezTo>
                      <a:pt x="536166" y="1119011"/>
                      <a:pt x="596856" y="1179701"/>
                      <a:pt x="671721" y="1179701"/>
                    </a:cubicBezTo>
                    <a:cubicBezTo>
                      <a:pt x="746585" y="1179701"/>
                      <a:pt x="807274" y="1119011"/>
                      <a:pt x="807274" y="1044147"/>
                    </a:cubicBezTo>
                    <a:cubicBezTo>
                      <a:pt x="807274" y="969282"/>
                      <a:pt x="746585" y="908593"/>
                      <a:pt x="671721" y="908593"/>
                    </a:cubicBezTo>
                    <a:close/>
                    <a:moveTo>
                      <a:pt x="3748576" y="908591"/>
                    </a:moveTo>
                    <a:cubicBezTo>
                      <a:pt x="3673711" y="908591"/>
                      <a:pt x="3613022" y="969280"/>
                      <a:pt x="3613022" y="1044145"/>
                    </a:cubicBezTo>
                    <a:cubicBezTo>
                      <a:pt x="3613022" y="1119009"/>
                      <a:pt x="3673711" y="1179699"/>
                      <a:pt x="3748576" y="1179699"/>
                    </a:cubicBezTo>
                    <a:cubicBezTo>
                      <a:pt x="3823440" y="1179699"/>
                      <a:pt x="3884130" y="1119009"/>
                      <a:pt x="3884130" y="1044145"/>
                    </a:cubicBezTo>
                    <a:cubicBezTo>
                      <a:pt x="3884130" y="969280"/>
                      <a:pt x="3823440" y="908591"/>
                      <a:pt x="3748576" y="908591"/>
                    </a:cubicBezTo>
                    <a:close/>
                    <a:moveTo>
                      <a:pt x="4640837" y="643594"/>
                    </a:moveTo>
                    <a:lnTo>
                      <a:pt x="4566443" y="664355"/>
                    </a:lnTo>
                    <a:lnTo>
                      <a:pt x="5038756" y="828713"/>
                    </a:lnTo>
                    <a:lnTo>
                      <a:pt x="5303459" y="749129"/>
                    </a:lnTo>
                    <a:lnTo>
                      <a:pt x="5097579" y="757779"/>
                    </a:lnTo>
                    <a:close/>
                    <a:moveTo>
                      <a:pt x="2540225" y="602681"/>
                    </a:moveTo>
                    <a:cubicBezTo>
                      <a:pt x="2596374" y="602681"/>
                      <a:pt x="2641891" y="648198"/>
                      <a:pt x="2641891" y="704347"/>
                    </a:cubicBezTo>
                    <a:cubicBezTo>
                      <a:pt x="2641891" y="760496"/>
                      <a:pt x="2596374" y="806013"/>
                      <a:pt x="2540225" y="806013"/>
                    </a:cubicBezTo>
                    <a:cubicBezTo>
                      <a:pt x="2484076" y="806013"/>
                      <a:pt x="2438559" y="760496"/>
                      <a:pt x="2438559" y="704347"/>
                    </a:cubicBezTo>
                    <a:cubicBezTo>
                      <a:pt x="2438559" y="648198"/>
                      <a:pt x="2484076" y="602681"/>
                      <a:pt x="2540225" y="602681"/>
                    </a:cubicBezTo>
                    <a:close/>
                    <a:moveTo>
                      <a:pt x="2063834" y="568791"/>
                    </a:moveTo>
                    <a:cubicBezTo>
                      <a:pt x="2138698" y="568791"/>
                      <a:pt x="2199388" y="629481"/>
                      <a:pt x="2199388" y="704345"/>
                    </a:cubicBezTo>
                    <a:cubicBezTo>
                      <a:pt x="2199388" y="779209"/>
                      <a:pt x="2138698" y="839899"/>
                      <a:pt x="2063834" y="839899"/>
                    </a:cubicBezTo>
                    <a:cubicBezTo>
                      <a:pt x="1988970" y="839899"/>
                      <a:pt x="1928280" y="779209"/>
                      <a:pt x="1928280" y="704345"/>
                    </a:cubicBezTo>
                    <a:cubicBezTo>
                      <a:pt x="1928280" y="629481"/>
                      <a:pt x="1988970" y="568791"/>
                      <a:pt x="2063834" y="568791"/>
                    </a:cubicBezTo>
                    <a:close/>
                    <a:moveTo>
                      <a:pt x="3016609" y="568789"/>
                    </a:moveTo>
                    <a:cubicBezTo>
                      <a:pt x="3091473" y="568789"/>
                      <a:pt x="3152163" y="629479"/>
                      <a:pt x="3152163" y="704343"/>
                    </a:cubicBezTo>
                    <a:cubicBezTo>
                      <a:pt x="3152163" y="779207"/>
                      <a:pt x="3091473" y="839897"/>
                      <a:pt x="3016609" y="839897"/>
                    </a:cubicBezTo>
                    <a:cubicBezTo>
                      <a:pt x="2941745" y="839897"/>
                      <a:pt x="2881055" y="779207"/>
                      <a:pt x="2881055" y="704343"/>
                    </a:cubicBezTo>
                    <a:cubicBezTo>
                      <a:pt x="2881055" y="629479"/>
                      <a:pt x="2941745" y="568789"/>
                      <a:pt x="3016609" y="568789"/>
                    </a:cubicBezTo>
                    <a:close/>
                    <a:moveTo>
                      <a:pt x="752341" y="404433"/>
                    </a:moveTo>
                    <a:cubicBezTo>
                      <a:pt x="799131" y="404433"/>
                      <a:pt x="837062" y="442364"/>
                      <a:pt x="837062" y="489154"/>
                    </a:cubicBezTo>
                    <a:cubicBezTo>
                      <a:pt x="837062" y="535944"/>
                      <a:pt x="799131" y="573875"/>
                      <a:pt x="752341" y="573875"/>
                    </a:cubicBezTo>
                    <a:cubicBezTo>
                      <a:pt x="705551" y="573875"/>
                      <a:pt x="667620" y="535944"/>
                      <a:pt x="667620" y="489154"/>
                    </a:cubicBezTo>
                    <a:cubicBezTo>
                      <a:pt x="667620" y="442364"/>
                      <a:pt x="705551" y="404433"/>
                      <a:pt x="752341" y="404433"/>
                    </a:cubicBezTo>
                    <a:close/>
                    <a:moveTo>
                      <a:pt x="1177547" y="402668"/>
                    </a:moveTo>
                    <a:cubicBezTo>
                      <a:pt x="1224337" y="402668"/>
                      <a:pt x="1262268" y="440599"/>
                      <a:pt x="1262268" y="487389"/>
                    </a:cubicBezTo>
                    <a:cubicBezTo>
                      <a:pt x="1262268" y="534179"/>
                      <a:pt x="1224337" y="572110"/>
                      <a:pt x="1177547" y="572110"/>
                    </a:cubicBezTo>
                    <a:cubicBezTo>
                      <a:pt x="1130757" y="572110"/>
                      <a:pt x="1092826" y="534179"/>
                      <a:pt x="1092826" y="487389"/>
                    </a:cubicBezTo>
                    <a:cubicBezTo>
                      <a:pt x="1092826" y="440599"/>
                      <a:pt x="1130757" y="402668"/>
                      <a:pt x="1177547" y="402668"/>
                    </a:cubicBezTo>
                    <a:close/>
                    <a:moveTo>
                      <a:pt x="3831297" y="401161"/>
                    </a:moveTo>
                    <a:cubicBezTo>
                      <a:pt x="3878087" y="401161"/>
                      <a:pt x="3916018" y="439092"/>
                      <a:pt x="3916018" y="485882"/>
                    </a:cubicBezTo>
                    <a:cubicBezTo>
                      <a:pt x="3916018" y="532672"/>
                      <a:pt x="3878087" y="570603"/>
                      <a:pt x="3831297" y="570603"/>
                    </a:cubicBezTo>
                    <a:cubicBezTo>
                      <a:pt x="3784507" y="570603"/>
                      <a:pt x="3746576" y="532672"/>
                      <a:pt x="3746576" y="485882"/>
                    </a:cubicBezTo>
                    <a:cubicBezTo>
                      <a:pt x="3746576" y="439092"/>
                      <a:pt x="3784507" y="401161"/>
                      <a:pt x="3831297" y="401161"/>
                    </a:cubicBezTo>
                    <a:close/>
                    <a:moveTo>
                      <a:pt x="4256505" y="399399"/>
                    </a:moveTo>
                    <a:cubicBezTo>
                      <a:pt x="4303295" y="399399"/>
                      <a:pt x="4341226" y="437330"/>
                      <a:pt x="4341226" y="484120"/>
                    </a:cubicBezTo>
                    <a:cubicBezTo>
                      <a:pt x="4341226" y="530910"/>
                      <a:pt x="4303295" y="568841"/>
                      <a:pt x="4256505" y="568841"/>
                    </a:cubicBezTo>
                    <a:cubicBezTo>
                      <a:pt x="4209715" y="568841"/>
                      <a:pt x="4171784" y="530910"/>
                      <a:pt x="4171784" y="484120"/>
                    </a:cubicBezTo>
                    <a:cubicBezTo>
                      <a:pt x="4171784" y="437330"/>
                      <a:pt x="4209715" y="399399"/>
                      <a:pt x="4256505" y="399399"/>
                    </a:cubicBezTo>
                    <a:close/>
                    <a:moveTo>
                      <a:pt x="1181117" y="383742"/>
                    </a:moveTo>
                    <a:cubicBezTo>
                      <a:pt x="1124969" y="383742"/>
                      <a:pt x="1079452" y="429260"/>
                      <a:pt x="1079452" y="485408"/>
                    </a:cubicBezTo>
                    <a:cubicBezTo>
                      <a:pt x="1079452" y="541556"/>
                      <a:pt x="1124969" y="587074"/>
                      <a:pt x="1181117" y="587074"/>
                    </a:cubicBezTo>
                    <a:cubicBezTo>
                      <a:pt x="1237265" y="587074"/>
                      <a:pt x="1282783" y="541556"/>
                      <a:pt x="1282783" y="485408"/>
                    </a:cubicBezTo>
                    <a:cubicBezTo>
                      <a:pt x="1282783" y="429260"/>
                      <a:pt x="1237265" y="383742"/>
                      <a:pt x="1181117" y="383742"/>
                    </a:cubicBezTo>
                    <a:close/>
                    <a:moveTo>
                      <a:pt x="756173" y="383742"/>
                    </a:moveTo>
                    <a:cubicBezTo>
                      <a:pt x="700025" y="383742"/>
                      <a:pt x="654507" y="429260"/>
                      <a:pt x="654507" y="485408"/>
                    </a:cubicBezTo>
                    <a:cubicBezTo>
                      <a:pt x="654507" y="541556"/>
                      <a:pt x="700025" y="587074"/>
                      <a:pt x="756173" y="587074"/>
                    </a:cubicBezTo>
                    <a:cubicBezTo>
                      <a:pt x="812321" y="587074"/>
                      <a:pt x="857838" y="541556"/>
                      <a:pt x="857838" y="485408"/>
                    </a:cubicBezTo>
                    <a:cubicBezTo>
                      <a:pt x="857838" y="429260"/>
                      <a:pt x="812321" y="383742"/>
                      <a:pt x="756173" y="383742"/>
                    </a:cubicBezTo>
                    <a:close/>
                    <a:moveTo>
                      <a:pt x="4257973" y="383740"/>
                    </a:moveTo>
                    <a:cubicBezTo>
                      <a:pt x="4201825" y="383740"/>
                      <a:pt x="4156307" y="429258"/>
                      <a:pt x="4156307" y="485406"/>
                    </a:cubicBezTo>
                    <a:cubicBezTo>
                      <a:pt x="4156307" y="541554"/>
                      <a:pt x="4201825" y="587072"/>
                      <a:pt x="4257973" y="587072"/>
                    </a:cubicBezTo>
                    <a:cubicBezTo>
                      <a:pt x="4314121" y="587072"/>
                      <a:pt x="4359638" y="541554"/>
                      <a:pt x="4359638" y="485406"/>
                    </a:cubicBezTo>
                    <a:cubicBezTo>
                      <a:pt x="4359638" y="429258"/>
                      <a:pt x="4314121" y="383740"/>
                      <a:pt x="4257973" y="383740"/>
                    </a:cubicBezTo>
                    <a:close/>
                    <a:moveTo>
                      <a:pt x="3833028" y="383740"/>
                    </a:moveTo>
                    <a:cubicBezTo>
                      <a:pt x="3776880" y="383740"/>
                      <a:pt x="3731363" y="429258"/>
                      <a:pt x="3731363" y="485406"/>
                    </a:cubicBezTo>
                    <a:cubicBezTo>
                      <a:pt x="3731363" y="541554"/>
                      <a:pt x="3776880" y="587072"/>
                      <a:pt x="3833028" y="587072"/>
                    </a:cubicBezTo>
                    <a:cubicBezTo>
                      <a:pt x="3889176" y="587072"/>
                      <a:pt x="3934694" y="541554"/>
                      <a:pt x="3934694" y="485406"/>
                    </a:cubicBezTo>
                    <a:cubicBezTo>
                      <a:pt x="3934694" y="429258"/>
                      <a:pt x="3889176" y="383740"/>
                      <a:pt x="3833028" y="383740"/>
                    </a:cubicBezTo>
                    <a:close/>
                    <a:moveTo>
                      <a:pt x="4873683" y="383301"/>
                    </a:moveTo>
                    <a:cubicBezTo>
                      <a:pt x="4873351" y="414377"/>
                      <a:pt x="4873018" y="445454"/>
                      <a:pt x="4872686" y="476530"/>
                    </a:cubicBezTo>
                    <a:lnTo>
                      <a:pt x="4757023" y="487000"/>
                    </a:lnTo>
                    <a:lnTo>
                      <a:pt x="4757023" y="407730"/>
                    </a:lnTo>
                    <a:close/>
                    <a:moveTo>
                      <a:pt x="4873683" y="239443"/>
                    </a:moveTo>
                    <a:lnTo>
                      <a:pt x="4873683" y="332173"/>
                    </a:lnTo>
                    <a:lnTo>
                      <a:pt x="4757521" y="364081"/>
                    </a:lnTo>
                    <a:lnTo>
                      <a:pt x="4757521" y="284811"/>
                    </a:lnTo>
                    <a:close/>
                    <a:moveTo>
                      <a:pt x="5095480" y="81171"/>
                    </a:moveTo>
                    <a:lnTo>
                      <a:pt x="4659436" y="283724"/>
                    </a:lnTo>
                    <a:cubicBezTo>
                      <a:pt x="4659618" y="297048"/>
                      <a:pt x="4659801" y="310371"/>
                      <a:pt x="4659983" y="323695"/>
                    </a:cubicBezTo>
                    <a:lnTo>
                      <a:pt x="4727761" y="296123"/>
                    </a:lnTo>
                    <a:cubicBezTo>
                      <a:pt x="4727319" y="320490"/>
                      <a:pt x="4726875" y="344855"/>
                      <a:pt x="4726432" y="369220"/>
                    </a:cubicBezTo>
                    <a:cubicBezTo>
                      <a:pt x="4705208" y="374384"/>
                      <a:pt x="4672596" y="383976"/>
                      <a:pt x="4657442" y="389362"/>
                    </a:cubicBezTo>
                    <a:cubicBezTo>
                      <a:pt x="4657109" y="409074"/>
                      <a:pt x="4656999" y="415644"/>
                      <a:pt x="4656777" y="428786"/>
                    </a:cubicBezTo>
                    <a:lnTo>
                      <a:pt x="4723891" y="412789"/>
                    </a:lnTo>
                    <a:cubicBezTo>
                      <a:pt x="4723669" y="438681"/>
                      <a:pt x="4722783" y="465237"/>
                      <a:pt x="4722561" y="491129"/>
                    </a:cubicBezTo>
                    <a:lnTo>
                      <a:pt x="4653217" y="494570"/>
                    </a:lnTo>
                    <a:cubicBezTo>
                      <a:pt x="4653439" y="506668"/>
                      <a:pt x="4652995" y="518766"/>
                      <a:pt x="4653217" y="530864"/>
                    </a:cubicBezTo>
                    <a:lnTo>
                      <a:pt x="4723928" y="530650"/>
                    </a:lnTo>
                    <a:cubicBezTo>
                      <a:pt x="4723354" y="557610"/>
                      <a:pt x="4723067" y="573083"/>
                      <a:pt x="4723537" y="613856"/>
                    </a:cubicBezTo>
                    <a:lnTo>
                      <a:pt x="4651046" y="600873"/>
                    </a:lnTo>
                    <a:cubicBezTo>
                      <a:pt x="4651046" y="611844"/>
                      <a:pt x="4651154" y="636273"/>
                      <a:pt x="4651545" y="638507"/>
                    </a:cubicBezTo>
                    <a:cubicBezTo>
                      <a:pt x="4651915" y="635823"/>
                      <a:pt x="4717998" y="655367"/>
                      <a:pt x="4753965" y="664544"/>
                    </a:cubicBezTo>
                    <a:cubicBezTo>
                      <a:pt x="4754298" y="598624"/>
                      <a:pt x="4753744" y="575985"/>
                      <a:pt x="4753965" y="531373"/>
                    </a:cubicBezTo>
                    <a:lnTo>
                      <a:pt x="4870047" y="530590"/>
                    </a:lnTo>
                    <a:cubicBezTo>
                      <a:pt x="4870268" y="583011"/>
                      <a:pt x="4870489" y="635433"/>
                      <a:pt x="4870711" y="687853"/>
                    </a:cubicBezTo>
                    <a:lnTo>
                      <a:pt x="5098921" y="747146"/>
                    </a:lnTo>
                    <a:lnTo>
                      <a:pt x="5098921" y="674870"/>
                    </a:lnTo>
                    <a:lnTo>
                      <a:pt x="4916510" y="643894"/>
                    </a:lnTo>
                    <a:cubicBezTo>
                      <a:pt x="4916601" y="606388"/>
                      <a:pt x="4916692" y="568880"/>
                      <a:pt x="4916782" y="531373"/>
                    </a:cubicBezTo>
                    <a:lnTo>
                      <a:pt x="5098921" y="533759"/>
                    </a:lnTo>
                    <a:cubicBezTo>
                      <a:pt x="5099495" y="510240"/>
                      <a:pt x="5098451" y="496487"/>
                      <a:pt x="5099312" y="461209"/>
                    </a:cubicBezTo>
                    <a:lnTo>
                      <a:pt x="4916392" y="477244"/>
                    </a:lnTo>
                    <a:cubicBezTo>
                      <a:pt x="4917251" y="428200"/>
                      <a:pt x="4915922" y="425540"/>
                      <a:pt x="4916782" y="376495"/>
                    </a:cubicBezTo>
                    <a:lnTo>
                      <a:pt x="5095480" y="339301"/>
                    </a:lnTo>
                    <a:cubicBezTo>
                      <a:pt x="5095792" y="318429"/>
                      <a:pt x="5096105" y="297558"/>
                      <a:pt x="5096417" y="276685"/>
                    </a:cubicBezTo>
                    <a:lnTo>
                      <a:pt x="4913068" y="322092"/>
                    </a:lnTo>
                    <a:lnTo>
                      <a:pt x="4913068" y="222283"/>
                    </a:lnTo>
                    <a:lnTo>
                      <a:pt x="5097201" y="155169"/>
                    </a:lnTo>
                    <a:cubicBezTo>
                      <a:pt x="5096627" y="130503"/>
                      <a:pt x="5096054" y="105836"/>
                      <a:pt x="5095480" y="81171"/>
                    </a:cubicBezTo>
                    <a:close/>
                    <a:moveTo>
                      <a:pt x="1155428" y="2"/>
                    </a:moveTo>
                    <a:cubicBezTo>
                      <a:pt x="1394425" y="62"/>
                      <a:pt x="1624290" y="197267"/>
                      <a:pt x="1600606" y="476123"/>
                    </a:cubicBezTo>
                    <a:cubicBezTo>
                      <a:pt x="1735661" y="438757"/>
                      <a:pt x="1829931" y="493907"/>
                      <a:pt x="1873647" y="576403"/>
                    </a:cubicBezTo>
                    <a:cubicBezTo>
                      <a:pt x="1825914" y="597073"/>
                      <a:pt x="1792727" y="644683"/>
                      <a:pt x="1792727" y="700043"/>
                    </a:cubicBezTo>
                    <a:cubicBezTo>
                      <a:pt x="1792727" y="750961"/>
                      <a:pt x="1820801" y="795323"/>
                      <a:pt x="1863308" y="816713"/>
                    </a:cubicBezTo>
                    <a:cubicBezTo>
                      <a:pt x="1820236" y="880540"/>
                      <a:pt x="1737735" y="922739"/>
                      <a:pt x="1611607" y="908846"/>
                    </a:cubicBezTo>
                    <a:cubicBezTo>
                      <a:pt x="1599116" y="958219"/>
                      <a:pt x="1567518" y="1006725"/>
                      <a:pt x="1521646" y="1032388"/>
                    </a:cubicBezTo>
                    <a:cubicBezTo>
                      <a:pt x="1516336" y="962999"/>
                      <a:pt x="1458161" y="908593"/>
                      <a:pt x="1387277" y="908593"/>
                    </a:cubicBezTo>
                    <a:cubicBezTo>
                      <a:pt x="1312413" y="908593"/>
                      <a:pt x="1251723" y="969282"/>
                      <a:pt x="1251723" y="1044147"/>
                    </a:cubicBezTo>
                    <a:cubicBezTo>
                      <a:pt x="1251723" y="1069449"/>
                      <a:pt x="1258656" y="1093132"/>
                      <a:pt x="1272700" y="1112223"/>
                    </a:cubicBezTo>
                    <a:cubicBezTo>
                      <a:pt x="1201652" y="1186063"/>
                      <a:pt x="1085063" y="1220672"/>
                      <a:pt x="947855" y="1092204"/>
                    </a:cubicBezTo>
                    <a:cubicBezTo>
                      <a:pt x="872067" y="1229110"/>
                      <a:pt x="480905" y="1340347"/>
                      <a:pt x="368446" y="952852"/>
                    </a:cubicBezTo>
                    <a:cubicBezTo>
                      <a:pt x="13956" y="1106871"/>
                      <a:pt x="-127841" y="509127"/>
                      <a:pt x="295103" y="512794"/>
                    </a:cubicBezTo>
                    <a:cubicBezTo>
                      <a:pt x="181422" y="322102"/>
                      <a:pt x="485795" y="-33611"/>
                      <a:pt x="768165" y="237758"/>
                    </a:cubicBezTo>
                    <a:cubicBezTo>
                      <a:pt x="865344" y="70902"/>
                      <a:pt x="1012029" y="-34"/>
                      <a:pt x="1155428" y="2"/>
                    </a:cubicBezTo>
                    <a:close/>
                    <a:moveTo>
                      <a:pt x="4232284" y="0"/>
                    </a:moveTo>
                    <a:cubicBezTo>
                      <a:pt x="4397183" y="41"/>
                      <a:pt x="4557735" y="93934"/>
                      <a:pt x="4631452" y="244861"/>
                    </a:cubicBezTo>
                    <a:lnTo>
                      <a:pt x="4617302" y="251555"/>
                    </a:lnTo>
                    <a:cubicBezTo>
                      <a:pt x="4615733" y="376284"/>
                      <a:pt x="4614164" y="501012"/>
                      <a:pt x="4612595" y="625741"/>
                    </a:cubicBezTo>
                    <a:lnTo>
                      <a:pt x="4518460" y="644568"/>
                    </a:lnTo>
                    <a:lnTo>
                      <a:pt x="4518460" y="663395"/>
                    </a:lnTo>
                    <a:lnTo>
                      <a:pt x="4544396" y="672442"/>
                    </a:lnTo>
                    <a:lnTo>
                      <a:pt x="4545685" y="653110"/>
                    </a:lnTo>
                    <a:lnTo>
                      <a:pt x="4639109" y="637540"/>
                    </a:lnTo>
                    <a:lnTo>
                      <a:pt x="4649490" y="269031"/>
                    </a:lnTo>
                    <a:lnTo>
                      <a:pt x="5095851" y="52771"/>
                    </a:lnTo>
                    <a:lnTo>
                      <a:pt x="5512801" y="250001"/>
                    </a:lnTo>
                    <a:cubicBezTo>
                      <a:pt x="5513954" y="374567"/>
                      <a:pt x="5515107" y="499133"/>
                      <a:pt x="5516261" y="623699"/>
                    </a:cubicBezTo>
                    <a:lnTo>
                      <a:pt x="5552593" y="634079"/>
                    </a:lnTo>
                    <a:lnTo>
                      <a:pt x="5557783" y="680791"/>
                    </a:lnTo>
                    <a:lnTo>
                      <a:pt x="5047409" y="858990"/>
                    </a:lnTo>
                    <a:lnTo>
                      <a:pt x="4937240" y="819617"/>
                    </a:lnTo>
                    <a:cubicBezTo>
                      <a:pt x="4894181" y="882003"/>
                      <a:pt x="4812376" y="922492"/>
                      <a:pt x="4688463" y="908844"/>
                    </a:cubicBezTo>
                    <a:cubicBezTo>
                      <a:pt x="4675971" y="958217"/>
                      <a:pt x="4644373" y="1006723"/>
                      <a:pt x="4598502" y="1032386"/>
                    </a:cubicBezTo>
                    <a:cubicBezTo>
                      <a:pt x="4593191" y="962997"/>
                      <a:pt x="4535016" y="908591"/>
                      <a:pt x="4464133" y="908591"/>
                    </a:cubicBezTo>
                    <a:cubicBezTo>
                      <a:pt x="4389268" y="908591"/>
                      <a:pt x="4328579" y="969280"/>
                      <a:pt x="4328579" y="1044145"/>
                    </a:cubicBezTo>
                    <a:cubicBezTo>
                      <a:pt x="4328579" y="1069447"/>
                      <a:pt x="4335512" y="1093130"/>
                      <a:pt x="4349555" y="1112221"/>
                    </a:cubicBezTo>
                    <a:cubicBezTo>
                      <a:pt x="4278507" y="1186061"/>
                      <a:pt x="4161918" y="1220670"/>
                      <a:pt x="4024710" y="1092202"/>
                    </a:cubicBezTo>
                    <a:cubicBezTo>
                      <a:pt x="3948923" y="1229108"/>
                      <a:pt x="3557761" y="1340345"/>
                      <a:pt x="3445301" y="952850"/>
                    </a:cubicBezTo>
                    <a:cubicBezTo>
                      <a:pt x="3288830" y="1020833"/>
                      <a:pt x="3173799" y="942350"/>
                      <a:pt x="3130735" y="833669"/>
                    </a:cubicBezTo>
                    <a:cubicBezTo>
                      <a:pt x="3196591" y="824924"/>
                      <a:pt x="3247176" y="768390"/>
                      <a:pt x="3247176" y="700041"/>
                    </a:cubicBezTo>
                    <a:cubicBezTo>
                      <a:pt x="3247176" y="648264"/>
                      <a:pt x="3218146" y="603267"/>
                      <a:pt x="3174619" y="582039"/>
                    </a:cubicBezTo>
                    <a:cubicBezTo>
                      <a:pt x="3215680" y="539232"/>
                      <a:pt x="3280662" y="512000"/>
                      <a:pt x="3371959" y="512792"/>
                    </a:cubicBezTo>
                    <a:cubicBezTo>
                      <a:pt x="3258277" y="322100"/>
                      <a:pt x="3562650" y="-33613"/>
                      <a:pt x="3845020" y="237756"/>
                    </a:cubicBezTo>
                    <a:cubicBezTo>
                      <a:pt x="3942199" y="70900"/>
                      <a:pt x="4088885" y="-36"/>
                      <a:pt x="423228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2" tIns="44796" rIns="89592" bIns="44796" rtlCol="0" anchor="ctr"/>
              <a:lstStyle/>
              <a:p>
                <a:pPr algn="ctr" defTabSz="913844"/>
                <a:endParaRPr lang="en-US" sz="1765">
                  <a:solidFill>
                    <a:srgbClr val="FFFFFF"/>
                  </a:solidFill>
                </a:endParaRPr>
              </a:p>
            </p:txBody>
          </p:sp>
        </p:grpSp>
        <p:sp>
          <p:nvSpPr>
            <p:cNvPr id="236" name="Oval 122"/>
            <p:cNvSpPr>
              <a:spLocks noChangeArrowheads="1"/>
            </p:cNvSpPr>
            <p:nvPr/>
          </p:nvSpPr>
          <p:spPr bwMode="auto">
            <a:xfrm>
              <a:off x="5480173" y="2962946"/>
              <a:ext cx="275748" cy="52396"/>
            </a:xfrm>
            <a:prstGeom prst="ellipse">
              <a:avLst/>
            </a:prstGeom>
            <a:solidFill>
              <a:schemeClr val="accent2"/>
            </a:solidFill>
            <a:ln>
              <a:noFill/>
            </a:ln>
            <a:extLst/>
          </p:spPr>
          <p:txBody>
            <a:bodyPr vert="horz" wrap="square" lIns="89592" tIns="44796" rIns="89592" bIns="44796" numCol="1" anchor="t" anchorCtr="0" compatLnSpc="1">
              <a:prstTxWarp prst="textNoShape">
                <a:avLst/>
              </a:prstTxWarp>
            </a:bodyPr>
            <a:lstStyle/>
            <a:p>
              <a:pPr defTabSz="913844"/>
              <a:endParaRPr lang="en-US" sz="1765">
                <a:solidFill>
                  <a:srgbClr val="FFFFFF"/>
                </a:solidFill>
              </a:endParaRPr>
            </a:p>
          </p:txBody>
        </p:sp>
        <p:grpSp>
          <p:nvGrpSpPr>
            <p:cNvPr id="91" name="Group 90"/>
            <p:cNvGrpSpPr/>
            <p:nvPr/>
          </p:nvGrpSpPr>
          <p:grpSpPr>
            <a:xfrm>
              <a:off x="5171923" y="1652401"/>
              <a:ext cx="2463868" cy="2889928"/>
              <a:chOff x="5169677" y="1652401"/>
              <a:chExt cx="2463868" cy="2889928"/>
            </a:xfrm>
          </p:grpSpPr>
          <p:sp>
            <p:nvSpPr>
              <p:cNvPr id="186" name="Rectangle 185"/>
              <p:cNvSpPr/>
              <p:nvPr/>
            </p:nvSpPr>
            <p:spPr bwMode="auto">
              <a:xfrm>
                <a:off x="5169677" y="2851941"/>
                <a:ext cx="2367119" cy="169038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89592" rIns="89592" bIns="44796" numCol="1" spcCol="0" rtlCol="0" fromWordArt="0" anchor="b" anchorCtr="0" forceAA="0" compatLnSpc="1">
                <a:prstTxWarp prst="textNoShape">
                  <a:avLst/>
                </a:prstTxWarp>
                <a:noAutofit/>
              </a:bodyPr>
              <a:lstStyle/>
              <a:p>
                <a:pPr algn="ctr" defTabSz="913578" fontAlgn="base">
                  <a:spcBef>
                    <a:spcPct val="0"/>
                  </a:spcBef>
                  <a:spcAft>
                    <a:spcPct val="0"/>
                  </a:spcAft>
                </a:pPr>
                <a:r>
                  <a:rPr lang="en-US" sz="1568" dirty="0">
                    <a:solidFill>
                      <a:srgbClr val="008272"/>
                    </a:solidFill>
                    <a:latin typeface="Segoe UI Semibold" panose="020B0702040204020203" pitchFamily="34" charset="0"/>
                    <a:ea typeface="Segoe UI" pitchFamily="34" charset="0"/>
                    <a:cs typeface="Segoe UI Semibold" panose="020B0702040204020203" pitchFamily="34" charset="0"/>
                  </a:rPr>
                  <a:t>Storage</a:t>
                </a:r>
              </a:p>
            </p:txBody>
          </p:sp>
          <p:grpSp>
            <p:nvGrpSpPr>
              <p:cNvPr id="218" name="Group 217"/>
              <p:cNvGrpSpPr/>
              <p:nvPr/>
            </p:nvGrpSpPr>
            <p:grpSpPr>
              <a:xfrm>
                <a:off x="6560474" y="2987643"/>
                <a:ext cx="1073071" cy="763165"/>
                <a:chOff x="6192470" y="3275595"/>
                <a:chExt cx="1070931" cy="761643"/>
              </a:xfrm>
            </p:grpSpPr>
            <p:grpSp>
              <p:nvGrpSpPr>
                <p:cNvPr id="219" name="Group 218"/>
                <p:cNvGrpSpPr>
                  <a:grpSpLocks noChangeAspect="1"/>
                </p:cNvGrpSpPr>
                <p:nvPr/>
              </p:nvGrpSpPr>
              <p:grpSpPr>
                <a:xfrm>
                  <a:off x="6532009" y="3275595"/>
                  <a:ext cx="391851" cy="249509"/>
                  <a:chOff x="5931319" y="2893145"/>
                  <a:chExt cx="291819" cy="185889"/>
                </a:xfrm>
              </p:grpSpPr>
              <p:sp>
                <p:nvSpPr>
                  <p:cNvPr id="222" name="Rectangle 221"/>
                  <p:cNvSpPr/>
                  <p:nvPr/>
                </p:nvSpPr>
                <p:spPr>
                  <a:xfrm>
                    <a:off x="5931319" y="2893145"/>
                    <a:ext cx="291819" cy="18588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329"/>
                    <a:endParaRPr lang="en-US" sz="1863">
                      <a:solidFill>
                        <a:srgbClr val="505050"/>
                      </a:solidFill>
                    </a:endParaRPr>
                  </a:p>
                </p:txBody>
              </p:sp>
              <p:sp>
                <p:nvSpPr>
                  <p:cNvPr id="223" name="Rectangle 222"/>
                  <p:cNvSpPr/>
                  <p:nvPr/>
                </p:nvSpPr>
                <p:spPr>
                  <a:xfrm>
                    <a:off x="5931452" y="2893544"/>
                    <a:ext cx="87072" cy="182289"/>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329"/>
                    <a:endParaRPr lang="en-US" sz="1863">
                      <a:solidFill>
                        <a:srgbClr val="505050"/>
                      </a:solidFill>
                    </a:endParaRPr>
                  </a:p>
                </p:txBody>
              </p:sp>
            </p:grpSp>
            <p:sp>
              <p:nvSpPr>
                <p:cNvPr id="220" name="TextBox 219"/>
                <p:cNvSpPr txBox="1"/>
                <p:nvPr/>
              </p:nvSpPr>
              <p:spPr>
                <a:xfrm>
                  <a:off x="6192470" y="3698684"/>
                  <a:ext cx="1070931" cy="338554"/>
                </a:xfrm>
                <a:prstGeom prst="rect">
                  <a:avLst/>
                </a:prstGeom>
                <a:noFill/>
              </p:spPr>
              <p:txBody>
                <a:bodyPr wrap="square" lIns="0" tIns="0" rIns="0" bIns="0" rtlCol="0">
                  <a:spAutoFit/>
                </a:bodyPr>
                <a:lstStyle/>
                <a:p>
                  <a:pPr algn="ctr" defTabSz="913679">
                    <a:spcBef>
                      <a:spcPct val="20000"/>
                    </a:spcBef>
                    <a:buSzPct val="80000"/>
                  </a:pPr>
                  <a:r>
                    <a:rPr lang="en-US" sz="1078" dirty="0">
                      <a:solidFill>
                        <a:srgbClr val="008272"/>
                      </a:solidFill>
                    </a:rPr>
                    <a:t>NoSQL </a:t>
                  </a:r>
                  <a:br>
                    <a:rPr lang="en-US" sz="1078" dirty="0">
                      <a:solidFill>
                        <a:srgbClr val="008272"/>
                      </a:solidFill>
                    </a:rPr>
                  </a:br>
                  <a:r>
                    <a:rPr lang="en-US" sz="1078" dirty="0">
                      <a:solidFill>
                        <a:srgbClr val="008272"/>
                      </a:solidFill>
                    </a:rPr>
                    <a:t>Database</a:t>
                  </a:r>
                </a:p>
              </p:txBody>
            </p:sp>
          </p:grpSp>
          <p:grpSp>
            <p:nvGrpSpPr>
              <p:cNvPr id="224" name="Group 223"/>
              <p:cNvGrpSpPr/>
              <p:nvPr/>
            </p:nvGrpSpPr>
            <p:grpSpPr>
              <a:xfrm>
                <a:off x="5910537" y="3540727"/>
                <a:ext cx="889902" cy="664788"/>
                <a:chOff x="7512084" y="3312768"/>
                <a:chExt cx="888127" cy="663462"/>
              </a:xfrm>
            </p:grpSpPr>
            <p:sp>
              <p:nvSpPr>
                <p:cNvPr id="226" name="Freeform 79"/>
                <p:cNvSpPr>
                  <a:spLocks noChangeAspect="1" noEditPoints="1"/>
                </p:cNvSpPr>
                <p:nvPr/>
              </p:nvSpPr>
              <p:spPr bwMode="black">
                <a:xfrm>
                  <a:off x="7811220" y="3312768"/>
                  <a:ext cx="289857" cy="39169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accent2"/>
                </a:solidFill>
                <a:ln>
                  <a:noFill/>
                </a:ln>
              </p:spPr>
              <p:txBody>
                <a:bodyPr vert="horz" wrap="square" lIns="82296" tIns="41149" rIns="82296" bIns="41149" numCol="1" anchor="t" anchorCtr="0" compatLnSpc="1">
                  <a:prstTxWarp prst="textNoShape">
                    <a:avLst/>
                  </a:prstTxWarp>
                </a:bodyPr>
                <a:lstStyle/>
                <a:p>
                  <a:pPr defTabSz="684329"/>
                  <a:endParaRPr lang="en-US" sz="980">
                    <a:solidFill>
                      <a:srgbClr val="505050"/>
                    </a:solidFill>
                  </a:endParaRPr>
                </a:p>
              </p:txBody>
            </p:sp>
            <p:sp>
              <p:nvSpPr>
                <p:cNvPr id="227" name="TextBox 226"/>
                <p:cNvSpPr txBox="1"/>
                <p:nvPr/>
              </p:nvSpPr>
              <p:spPr>
                <a:xfrm>
                  <a:off x="7512084" y="3806953"/>
                  <a:ext cx="888127" cy="169277"/>
                </a:xfrm>
                <a:prstGeom prst="rect">
                  <a:avLst/>
                </a:prstGeom>
                <a:noFill/>
              </p:spPr>
              <p:txBody>
                <a:bodyPr wrap="square" lIns="0" tIns="0" rIns="0" bIns="0" rtlCol="0">
                  <a:spAutoFit/>
                </a:bodyPr>
                <a:lstStyle/>
                <a:p>
                  <a:pPr defTabSz="913679">
                    <a:spcBef>
                      <a:spcPct val="20000"/>
                    </a:spcBef>
                    <a:buSzPct val="80000"/>
                  </a:pPr>
                  <a:r>
                    <a:rPr lang="en-US" sz="1078" dirty="0">
                      <a:solidFill>
                        <a:srgbClr val="008272"/>
                      </a:solidFill>
                    </a:rPr>
                    <a:t>B</a:t>
                  </a:r>
                  <a:r>
                    <a:rPr lang="en-US" sz="1078" dirty="0">
                      <a:solidFill>
                        <a:srgbClr val="008272"/>
                      </a:solidFill>
                    </a:rPr>
                    <a:t>lob storage</a:t>
                  </a:r>
                  <a:endParaRPr lang="en-US" sz="1078" dirty="0">
                    <a:solidFill>
                      <a:srgbClr val="008272"/>
                    </a:solidFill>
                  </a:endParaRPr>
                </a:p>
              </p:txBody>
            </p:sp>
          </p:grpSp>
          <p:grpSp>
            <p:nvGrpSpPr>
              <p:cNvPr id="90" name="Group 89"/>
              <p:cNvGrpSpPr/>
              <p:nvPr/>
            </p:nvGrpSpPr>
            <p:grpSpPr>
              <a:xfrm>
                <a:off x="5205050" y="2998723"/>
                <a:ext cx="865474" cy="795227"/>
                <a:chOff x="5205050" y="2998723"/>
                <a:chExt cx="865474" cy="795227"/>
              </a:xfrm>
            </p:grpSpPr>
            <p:sp>
              <p:nvSpPr>
                <p:cNvPr id="208" name="TextBox 207"/>
                <p:cNvSpPr txBox="1"/>
                <p:nvPr/>
              </p:nvSpPr>
              <p:spPr>
                <a:xfrm>
                  <a:off x="5205050" y="3454719"/>
                  <a:ext cx="865474" cy="339231"/>
                </a:xfrm>
                <a:prstGeom prst="rect">
                  <a:avLst/>
                </a:prstGeom>
                <a:noFill/>
              </p:spPr>
              <p:txBody>
                <a:bodyPr wrap="square" lIns="0" tIns="0" rIns="0" bIns="0" rtlCol="0">
                  <a:spAutoFit/>
                </a:bodyPr>
                <a:lstStyle/>
                <a:p>
                  <a:pPr algn="ctr" defTabSz="913679">
                    <a:spcBef>
                      <a:spcPct val="20000"/>
                    </a:spcBef>
                    <a:buSzPct val="80000"/>
                  </a:pPr>
                  <a:r>
                    <a:rPr lang="en-US" sz="1078" dirty="0">
                      <a:solidFill>
                        <a:srgbClr val="008272"/>
                      </a:solidFill>
                    </a:rPr>
                    <a:t>SQL </a:t>
                  </a:r>
                  <a:br>
                    <a:rPr lang="en-US" sz="1078" dirty="0">
                      <a:solidFill>
                        <a:srgbClr val="008272"/>
                      </a:solidFill>
                    </a:rPr>
                  </a:br>
                  <a:r>
                    <a:rPr lang="en-US" sz="1078" dirty="0">
                      <a:solidFill>
                        <a:srgbClr val="008272"/>
                      </a:solidFill>
                    </a:rPr>
                    <a:t>Database</a:t>
                  </a:r>
                </a:p>
              </p:txBody>
            </p:sp>
            <p:sp>
              <p:nvSpPr>
                <p:cNvPr id="237" name="Freeform 123"/>
                <p:cNvSpPr>
                  <a:spLocks noEditPoints="1"/>
                </p:cNvSpPr>
                <p:nvPr/>
              </p:nvSpPr>
              <p:spPr bwMode="auto">
                <a:xfrm>
                  <a:off x="5473022" y="2998723"/>
                  <a:ext cx="285520" cy="334364"/>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2"/>
                </a:solidFill>
                <a:ln>
                  <a:noFill/>
                </a:ln>
                <a:extLst/>
              </p:spPr>
              <p:txBody>
                <a:bodyPr vert="horz" wrap="square" lIns="89592" tIns="44796" rIns="89592" bIns="44796" numCol="1" anchor="t" anchorCtr="0" compatLnSpc="1">
                  <a:prstTxWarp prst="textNoShape">
                    <a:avLst/>
                  </a:prstTxWarp>
                </a:bodyPr>
                <a:lstStyle/>
                <a:p>
                  <a:pPr defTabSz="913844"/>
                  <a:endParaRPr lang="en-US" sz="1765">
                    <a:solidFill>
                      <a:srgbClr val="FFFFFF"/>
                    </a:solidFill>
                  </a:endParaRPr>
                </a:p>
              </p:txBody>
            </p:sp>
          </p:grpSp>
          <p:sp>
            <p:nvSpPr>
              <p:cNvPr id="130" name="Rectangle 129"/>
              <p:cNvSpPr/>
              <p:nvPr/>
            </p:nvSpPr>
            <p:spPr bwMode="auto">
              <a:xfrm>
                <a:off x="5169677" y="1652401"/>
                <a:ext cx="2367119" cy="11942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89592" rIns="89592" bIns="44796" numCol="1" spcCol="0" rtlCol="0" fromWordArt="0" anchor="b" anchorCtr="0" forceAA="0" compatLnSpc="1">
                <a:prstTxWarp prst="textNoShape">
                  <a:avLst/>
                </a:prstTxWarp>
                <a:noAutofit/>
              </a:bodyPr>
              <a:lstStyle/>
              <a:p>
                <a:pPr algn="ctr" defTabSz="913578" fontAlgn="base">
                  <a:spcBef>
                    <a:spcPct val="0"/>
                  </a:spcBef>
                  <a:spcAft>
                    <a:spcPct val="0"/>
                  </a:spcAft>
                </a:pPr>
                <a:r>
                  <a:rPr lang="en-US" sz="1568" dirty="0">
                    <a:solidFill>
                      <a:srgbClr val="008272"/>
                    </a:solidFill>
                    <a:latin typeface="Segoe UI Semibold" panose="020B0702040204020203" pitchFamily="34" charset="0"/>
                    <a:ea typeface="Segoe UI" pitchFamily="34" charset="0"/>
                    <a:cs typeface="Segoe UI Semibold" panose="020B0702040204020203" pitchFamily="34" charset="0"/>
                  </a:rPr>
                  <a:t>Compute</a:t>
                </a:r>
              </a:p>
            </p:txBody>
          </p:sp>
        </p:grpSp>
        <p:grpSp>
          <p:nvGrpSpPr>
            <p:cNvPr id="89" name="Group 88"/>
            <p:cNvGrpSpPr/>
            <p:nvPr/>
          </p:nvGrpSpPr>
          <p:grpSpPr>
            <a:xfrm>
              <a:off x="5162299" y="4730602"/>
              <a:ext cx="2523888" cy="1652220"/>
              <a:chOff x="5160053" y="4730602"/>
              <a:chExt cx="2523888" cy="1652220"/>
            </a:xfrm>
          </p:grpSpPr>
          <p:sp>
            <p:nvSpPr>
              <p:cNvPr id="187" name="Rectangle 186"/>
              <p:cNvSpPr/>
              <p:nvPr/>
            </p:nvSpPr>
            <p:spPr bwMode="auto">
              <a:xfrm>
                <a:off x="5169677" y="4730602"/>
                <a:ext cx="2367119" cy="165222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89592" rIns="89592" bIns="89592" numCol="1" spcCol="0" rtlCol="0" fromWordArt="0" anchor="b" anchorCtr="0" forceAA="0" compatLnSpc="1">
                <a:prstTxWarp prst="textNoShape">
                  <a:avLst/>
                </a:prstTxWarp>
                <a:noAutofit/>
              </a:bodyPr>
              <a:lstStyle/>
              <a:p>
                <a:pPr algn="ctr" defTabSz="913578" fontAlgn="base">
                  <a:spcBef>
                    <a:spcPct val="0"/>
                  </a:spcBef>
                  <a:spcAft>
                    <a:spcPct val="0"/>
                  </a:spcAft>
                </a:pPr>
                <a:r>
                  <a:rPr lang="en-US" sz="1568" dirty="0">
                    <a:solidFill>
                      <a:srgbClr val="008272"/>
                    </a:solidFill>
                    <a:latin typeface="Segoe UI Semibold" panose="020B0702040204020203" pitchFamily="34" charset="0"/>
                    <a:ea typeface="Segoe UI" pitchFamily="34" charset="0"/>
                    <a:cs typeface="Segoe UI Semibold" panose="020B0702040204020203" pitchFamily="34" charset="0"/>
                  </a:rPr>
                  <a:t>Networking</a:t>
                </a:r>
              </a:p>
            </p:txBody>
          </p:sp>
          <p:grpSp>
            <p:nvGrpSpPr>
              <p:cNvPr id="228" name="Group 227"/>
              <p:cNvGrpSpPr/>
              <p:nvPr/>
            </p:nvGrpSpPr>
            <p:grpSpPr>
              <a:xfrm>
                <a:off x="5160053" y="4754321"/>
                <a:ext cx="886456" cy="831279"/>
                <a:chOff x="4925027" y="4788834"/>
                <a:chExt cx="884688" cy="829621"/>
              </a:xfrm>
            </p:grpSpPr>
            <p:sp>
              <p:nvSpPr>
                <p:cNvPr id="229" name="Freeform 58"/>
                <p:cNvSpPr>
                  <a:spLocks noEditPoints="1"/>
                </p:cNvSpPr>
                <p:nvPr/>
              </p:nvSpPr>
              <p:spPr bwMode="black">
                <a:xfrm>
                  <a:off x="5180013" y="4788834"/>
                  <a:ext cx="391466" cy="419410"/>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2"/>
                </a:solidFill>
                <a:ln>
                  <a:noFill/>
                </a:ln>
              </p:spPr>
              <p:txBody>
                <a:bodyPr vert="horz" wrap="square" lIns="82296" tIns="41149" rIns="82296" bIns="41149" numCol="1" anchor="t" anchorCtr="0" compatLnSpc="1">
                  <a:prstTxWarp prst="textNoShape">
                    <a:avLst/>
                  </a:prstTxWarp>
                </a:bodyPr>
                <a:lstStyle/>
                <a:p>
                  <a:pPr defTabSz="684329"/>
                  <a:endParaRPr lang="en-US" sz="980">
                    <a:solidFill>
                      <a:srgbClr val="505050"/>
                    </a:solidFill>
                  </a:endParaRPr>
                </a:p>
              </p:txBody>
            </p:sp>
            <p:sp>
              <p:nvSpPr>
                <p:cNvPr id="230" name="TextBox 229"/>
                <p:cNvSpPr txBox="1"/>
                <p:nvPr/>
              </p:nvSpPr>
              <p:spPr>
                <a:xfrm>
                  <a:off x="4925027" y="5280721"/>
                  <a:ext cx="884688" cy="337734"/>
                </a:xfrm>
                <a:prstGeom prst="rect">
                  <a:avLst/>
                </a:prstGeom>
                <a:noFill/>
              </p:spPr>
              <p:txBody>
                <a:bodyPr wrap="square" lIns="0" tIns="0" rIns="0" bIns="0" rtlCol="0">
                  <a:spAutoFit/>
                </a:bodyPr>
                <a:lstStyle/>
                <a:p>
                  <a:pPr algn="ctr" defTabSz="913679">
                    <a:spcBef>
                      <a:spcPct val="20000"/>
                    </a:spcBef>
                    <a:buSzPct val="80000"/>
                  </a:pPr>
                  <a:r>
                    <a:rPr lang="en-US" sz="1078" dirty="0">
                      <a:solidFill>
                        <a:srgbClr val="008272"/>
                      </a:solidFill>
                    </a:rPr>
                    <a:t>Dedicated connections</a:t>
                  </a:r>
                </a:p>
              </p:txBody>
            </p:sp>
          </p:grpSp>
          <p:grpSp>
            <p:nvGrpSpPr>
              <p:cNvPr id="231" name="Group 230"/>
              <p:cNvGrpSpPr/>
              <p:nvPr/>
            </p:nvGrpSpPr>
            <p:grpSpPr>
              <a:xfrm>
                <a:off x="6616461" y="4820703"/>
                <a:ext cx="1067480" cy="764903"/>
                <a:chOff x="6353220" y="4855078"/>
                <a:chExt cx="1065351" cy="763377"/>
              </a:xfrm>
            </p:grpSpPr>
            <p:sp>
              <p:nvSpPr>
                <p:cNvPr id="232" name="Freeform 78"/>
                <p:cNvSpPr>
                  <a:spLocks noEditPoints="1"/>
                </p:cNvSpPr>
                <p:nvPr/>
              </p:nvSpPr>
              <p:spPr bwMode="black">
                <a:xfrm>
                  <a:off x="6657891" y="4855078"/>
                  <a:ext cx="432374" cy="413621"/>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accent2"/>
                </a:solidFill>
                <a:ln>
                  <a:noFill/>
                </a:ln>
              </p:spPr>
              <p:txBody>
                <a:bodyPr vert="horz" wrap="square" lIns="82296" tIns="41149" rIns="82296" bIns="41149" numCol="1" anchor="t" anchorCtr="0" compatLnSpc="1">
                  <a:prstTxWarp prst="textNoShape">
                    <a:avLst/>
                  </a:prstTxWarp>
                </a:bodyPr>
                <a:lstStyle/>
                <a:p>
                  <a:pPr defTabSz="684329"/>
                  <a:endParaRPr lang="en-US" sz="980" dirty="0">
                    <a:solidFill>
                      <a:srgbClr val="505050"/>
                    </a:solidFill>
                  </a:endParaRPr>
                </a:p>
              </p:txBody>
            </p:sp>
            <p:sp>
              <p:nvSpPr>
                <p:cNvPr id="233" name="TextBox 232"/>
                <p:cNvSpPr txBox="1"/>
                <p:nvPr/>
              </p:nvSpPr>
              <p:spPr>
                <a:xfrm>
                  <a:off x="6353220" y="5280721"/>
                  <a:ext cx="1065351" cy="337734"/>
                </a:xfrm>
                <a:prstGeom prst="rect">
                  <a:avLst/>
                </a:prstGeom>
                <a:noFill/>
              </p:spPr>
              <p:txBody>
                <a:bodyPr wrap="square" lIns="0" tIns="0" rIns="0" bIns="0" rtlCol="0">
                  <a:spAutoFit/>
                </a:bodyPr>
                <a:lstStyle/>
                <a:p>
                  <a:pPr algn="ctr" defTabSz="913679">
                    <a:spcBef>
                      <a:spcPct val="20000"/>
                    </a:spcBef>
                    <a:buSzPct val="80000"/>
                  </a:pPr>
                  <a:r>
                    <a:rPr lang="en-US" sz="1078" dirty="0">
                      <a:solidFill>
                        <a:srgbClr val="008272"/>
                      </a:solidFill>
                    </a:rPr>
                    <a:t>Virtual </a:t>
                  </a:r>
                  <a:br>
                    <a:rPr lang="en-US" sz="1078" dirty="0">
                      <a:solidFill>
                        <a:srgbClr val="008272"/>
                      </a:solidFill>
                    </a:rPr>
                  </a:br>
                  <a:r>
                    <a:rPr lang="en-US" sz="1078" dirty="0">
                      <a:solidFill>
                        <a:srgbClr val="008272"/>
                      </a:solidFill>
                    </a:rPr>
                    <a:t>network</a:t>
                  </a:r>
                  <a:endParaRPr lang="en-US" sz="1078" dirty="0">
                    <a:solidFill>
                      <a:srgbClr val="008272"/>
                    </a:solidFill>
                  </a:endParaRPr>
                </a:p>
              </p:txBody>
            </p:sp>
          </p:grpSp>
          <p:grpSp>
            <p:nvGrpSpPr>
              <p:cNvPr id="87" name="Group 86"/>
              <p:cNvGrpSpPr/>
              <p:nvPr/>
            </p:nvGrpSpPr>
            <p:grpSpPr>
              <a:xfrm>
                <a:off x="5912392" y="5261685"/>
                <a:ext cx="976737" cy="673835"/>
                <a:chOff x="5912392" y="5261685"/>
                <a:chExt cx="976737" cy="673835"/>
              </a:xfrm>
            </p:grpSpPr>
            <p:sp>
              <p:nvSpPr>
                <p:cNvPr id="234" name="TextBox 233"/>
                <p:cNvSpPr txBox="1"/>
                <p:nvPr/>
              </p:nvSpPr>
              <p:spPr>
                <a:xfrm>
                  <a:off x="5912392" y="5765905"/>
                  <a:ext cx="976737" cy="169615"/>
                </a:xfrm>
                <a:prstGeom prst="rect">
                  <a:avLst/>
                </a:prstGeom>
                <a:noFill/>
              </p:spPr>
              <p:txBody>
                <a:bodyPr wrap="square" lIns="0" tIns="0" rIns="0" bIns="0" rtlCol="0">
                  <a:spAutoFit/>
                </a:bodyPr>
                <a:lstStyle/>
                <a:p>
                  <a:pPr algn="ctr" defTabSz="913679">
                    <a:spcBef>
                      <a:spcPct val="20000"/>
                    </a:spcBef>
                    <a:buSzPct val="80000"/>
                  </a:pPr>
                  <a:r>
                    <a:rPr lang="en-US" sz="1078" dirty="0">
                      <a:solidFill>
                        <a:srgbClr val="008272"/>
                      </a:solidFill>
                    </a:rPr>
                    <a:t>Traffic </a:t>
                  </a:r>
                  <a:r>
                    <a:rPr lang="en-US" sz="1078" dirty="0">
                      <a:solidFill>
                        <a:srgbClr val="008272"/>
                      </a:solidFill>
                    </a:rPr>
                    <a:t>Manager</a:t>
                  </a:r>
                  <a:endParaRPr lang="en-US" sz="1078" dirty="0">
                    <a:solidFill>
                      <a:srgbClr val="008272"/>
                    </a:solidFill>
                  </a:endParaRPr>
                </a:p>
              </p:txBody>
            </p:sp>
            <p:sp>
              <p:nvSpPr>
                <p:cNvPr id="238" name="Octagon 237"/>
                <p:cNvSpPr/>
                <p:nvPr/>
              </p:nvSpPr>
              <p:spPr>
                <a:xfrm>
                  <a:off x="6226374" y="5261685"/>
                  <a:ext cx="392777" cy="393014"/>
                </a:xfrm>
                <a:prstGeom prst="oc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592" tIns="44796" rIns="89592" bIns="44796" rtlCol="0" anchor="ctr"/>
                <a:lstStyle/>
                <a:p>
                  <a:pPr algn="ctr" defTabSz="913844"/>
                  <a:endParaRPr lang="en-US" sz="1765">
                    <a:solidFill>
                      <a:srgbClr val="FFFFFF"/>
                    </a:solidFill>
                  </a:endParaRPr>
                </a:p>
              </p:txBody>
            </p:sp>
          </p:grpSp>
        </p:grpSp>
        <p:grpSp>
          <p:nvGrpSpPr>
            <p:cNvPr id="239" name="Group 238"/>
            <p:cNvGrpSpPr/>
            <p:nvPr/>
          </p:nvGrpSpPr>
          <p:grpSpPr>
            <a:xfrm flipH="1">
              <a:off x="6277042" y="5311630"/>
              <a:ext cx="296115" cy="293336"/>
              <a:chOff x="2500588" y="3492500"/>
              <a:chExt cx="2109136" cy="2089349"/>
            </a:xfrm>
            <a:solidFill>
              <a:schemeClr val="bg1">
                <a:lumMod val="50000"/>
              </a:schemeClr>
            </a:solidFill>
          </p:grpSpPr>
          <p:sp>
            <p:nvSpPr>
              <p:cNvPr id="240" name="Up Arrow 50"/>
              <p:cNvSpPr/>
              <p:nvPr/>
            </p:nvSpPr>
            <p:spPr>
              <a:xfrm>
                <a:off x="2941629" y="3492500"/>
                <a:ext cx="1168009" cy="2089349"/>
              </a:xfrm>
              <a:custGeom>
                <a:avLst/>
                <a:gdLst/>
                <a:ahLst/>
                <a:cxnLst/>
                <a:rect l="l" t="t" r="r" b="b"/>
                <a:pathLst>
                  <a:path w="1168009" h="2089349">
                    <a:moveTo>
                      <a:pt x="349008" y="1073622"/>
                    </a:moveTo>
                    <a:lnTo>
                      <a:pt x="549488" y="1268787"/>
                    </a:lnTo>
                    <a:lnTo>
                      <a:pt x="283464" y="1527757"/>
                    </a:lnTo>
                    <a:lnTo>
                      <a:pt x="283464" y="2089349"/>
                    </a:lnTo>
                    <a:lnTo>
                      <a:pt x="0" y="2089349"/>
                    </a:lnTo>
                    <a:lnTo>
                      <a:pt x="0" y="1411921"/>
                    </a:lnTo>
                    <a:lnTo>
                      <a:pt x="1494" y="1411921"/>
                    </a:lnTo>
                    <a:close/>
                    <a:moveTo>
                      <a:pt x="902501" y="0"/>
                    </a:moveTo>
                    <a:lnTo>
                      <a:pt x="1168009" y="265508"/>
                    </a:lnTo>
                    <a:lnTo>
                      <a:pt x="1035255" y="265508"/>
                    </a:lnTo>
                    <a:lnTo>
                      <a:pt x="1035255" y="794178"/>
                    </a:lnTo>
                    <a:lnTo>
                      <a:pt x="1036116" y="795062"/>
                    </a:lnTo>
                    <a:lnTo>
                      <a:pt x="1035255" y="795900"/>
                    </a:lnTo>
                    <a:lnTo>
                      <a:pt x="1035255" y="799625"/>
                    </a:lnTo>
                    <a:lnTo>
                      <a:pt x="1031429" y="799625"/>
                    </a:lnTo>
                    <a:lnTo>
                      <a:pt x="783876" y="1040614"/>
                    </a:lnTo>
                    <a:lnTo>
                      <a:pt x="583396" y="845450"/>
                    </a:lnTo>
                    <a:lnTo>
                      <a:pt x="769747" y="664040"/>
                    </a:lnTo>
                    <a:lnTo>
                      <a:pt x="769747" y="265508"/>
                    </a:lnTo>
                    <a:lnTo>
                      <a:pt x="636993" y="26550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241" name="Rectangle 58"/>
              <p:cNvSpPr/>
              <p:nvPr/>
            </p:nvSpPr>
            <p:spPr>
              <a:xfrm rot="2653813" flipH="1">
                <a:off x="2500588" y="4077124"/>
                <a:ext cx="2109136" cy="1065303"/>
              </a:xfrm>
              <a:custGeom>
                <a:avLst/>
                <a:gdLst/>
                <a:ahLst/>
                <a:cxnLst/>
                <a:rect l="l" t="t" r="r" b="b"/>
                <a:pathLst>
                  <a:path w="2109136" h="1065303">
                    <a:moveTo>
                      <a:pt x="2104092" y="0"/>
                    </a:moveTo>
                    <a:lnTo>
                      <a:pt x="1728641" y="5044"/>
                    </a:lnTo>
                    <a:lnTo>
                      <a:pt x="1823765" y="97646"/>
                    </a:lnTo>
                    <a:lnTo>
                      <a:pt x="1545772" y="383211"/>
                    </a:lnTo>
                    <a:lnTo>
                      <a:pt x="473606" y="383211"/>
                    </a:lnTo>
                    <a:lnTo>
                      <a:pt x="472535" y="382168"/>
                    </a:lnTo>
                    <a:lnTo>
                      <a:pt x="0" y="867575"/>
                    </a:lnTo>
                    <a:lnTo>
                      <a:pt x="203114" y="1065303"/>
                    </a:lnTo>
                    <a:lnTo>
                      <a:pt x="594849" y="662898"/>
                    </a:lnTo>
                    <a:lnTo>
                      <a:pt x="1638701" y="662898"/>
                    </a:lnTo>
                    <a:lnTo>
                      <a:pt x="1641443" y="665567"/>
                    </a:lnTo>
                    <a:lnTo>
                      <a:pt x="1644041" y="662898"/>
                    </a:lnTo>
                    <a:lnTo>
                      <a:pt x="1645243" y="662898"/>
                    </a:lnTo>
                    <a:lnTo>
                      <a:pt x="1645243" y="661664"/>
                    </a:lnTo>
                    <a:lnTo>
                      <a:pt x="2014013" y="282849"/>
                    </a:lnTo>
                    <a:lnTo>
                      <a:pt x="2109136" y="37545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grpSp>
        <p:cxnSp>
          <p:nvCxnSpPr>
            <p:cNvPr id="242" name="Straight Connector 241"/>
            <p:cNvCxnSpPr/>
            <p:nvPr/>
          </p:nvCxnSpPr>
          <p:spPr>
            <a:xfrm flipV="1">
              <a:off x="5245064" y="2846665"/>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V="1">
              <a:off x="5245064" y="4614951"/>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92" name="Group 91"/>
            <p:cNvGrpSpPr/>
            <p:nvPr/>
          </p:nvGrpSpPr>
          <p:grpSpPr>
            <a:xfrm>
              <a:off x="5247354" y="1788471"/>
              <a:ext cx="1073069" cy="695512"/>
              <a:chOff x="5245108" y="1921821"/>
              <a:chExt cx="1073069" cy="695512"/>
            </a:xfrm>
          </p:grpSpPr>
          <p:sp>
            <p:nvSpPr>
              <p:cNvPr id="194" name="TextBox 193"/>
              <p:cNvSpPr txBox="1"/>
              <p:nvPr/>
            </p:nvSpPr>
            <p:spPr>
              <a:xfrm>
                <a:off x="5245108" y="2447718"/>
                <a:ext cx="1073069" cy="169615"/>
              </a:xfrm>
              <a:prstGeom prst="rect">
                <a:avLst/>
              </a:prstGeom>
              <a:noFill/>
            </p:spPr>
            <p:txBody>
              <a:bodyPr wrap="square" lIns="0" tIns="0" rIns="0" bIns="0" rtlCol="0">
                <a:spAutoFit/>
              </a:bodyPr>
              <a:lstStyle/>
              <a:p>
                <a:pPr defTabSz="913679">
                  <a:spcBef>
                    <a:spcPct val="20000"/>
                  </a:spcBef>
                  <a:buSzPct val="80000"/>
                </a:pPr>
                <a:r>
                  <a:rPr lang="en-US" sz="1078" dirty="0">
                    <a:solidFill>
                      <a:srgbClr val="008272"/>
                    </a:solidFill>
                  </a:rPr>
                  <a:t>V</a:t>
                </a:r>
                <a:r>
                  <a:rPr lang="en-US" sz="1078" dirty="0">
                    <a:solidFill>
                      <a:srgbClr val="008272"/>
                    </a:solidFill>
                  </a:rPr>
                  <a:t>irtual machines</a:t>
                </a:r>
                <a:endParaRPr lang="en-US" sz="1078" dirty="0">
                  <a:solidFill>
                    <a:srgbClr val="008272"/>
                  </a:solidFill>
                </a:endParaRPr>
              </a:p>
            </p:txBody>
          </p:sp>
          <p:grpSp>
            <p:nvGrpSpPr>
              <p:cNvPr id="310" name="Group 309"/>
              <p:cNvGrpSpPr/>
              <p:nvPr/>
            </p:nvGrpSpPr>
            <p:grpSpPr>
              <a:xfrm>
                <a:off x="5536224" y="1921821"/>
                <a:ext cx="490836" cy="416228"/>
                <a:chOff x="782639" y="1949738"/>
                <a:chExt cx="448520" cy="380344"/>
              </a:xfrm>
              <a:solidFill>
                <a:schemeClr val="accent2"/>
              </a:solidFill>
            </p:grpSpPr>
            <p:sp>
              <p:nvSpPr>
                <p:cNvPr id="311" name="Freeform 88"/>
                <p:cNvSpPr>
                  <a:spLocks noEditPoints="1"/>
                </p:cNvSpPr>
                <p:nvPr/>
              </p:nvSpPr>
              <p:spPr bwMode="black">
                <a:xfrm>
                  <a:off x="782639" y="1949738"/>
                  <a:ext cx="448520" cy="3803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39" tIns="44819" rIns="89639" bIns="44819" numCol="1" rtlCol="0" anchor="ctr" anchorCtr="0" compatLnSpc="1">
                  <a:prstTxWarp prst="textNoShape">
                    <a:avLst/>
                  </a:prstTxWarp>
                </a:bodyPr>
                <a:lstStyle/>
                <a:p>
                  <a:pPr defTabSz="726147"/>
                  <a:endParaRPr lang="en-US" sz="1765" dirty="0">
                    <a:solidFill>
                      <a:srgbClr val="000000">
                        <a:lumMod val="50000"/>
                      </a:srgbClr>
                    </a:solidFill>
                  </a:endParaRPr>
                </a:p>
              </p:txBody>
            </p:sp>
            <p:sp>
              <p:nvSpPr>
                <p:cNvPr id="312" name="Freeform 23"/>
                <p:cNvSpPr>
                  <a:spLocks noEditPoints="1"/>
                </p:cNvSpPr>
                <p:nvPr/>
              </p:nvSpPr>
              <p:spPr bwMode="black">
                <a:xfrm>
                  <a:off x="930070" y="2043049"/>
                  <a:ext cx="153658" cy="153618"/>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87" tIns="40344" rIns="80687" bIns="40344" numCol="1" anchor="t" anchorCtr="0" compatLnSpc="1">
                  <a:prstTxWarp prst="textNoShape">
                    <a:avLst/>
                  </a:prstTxWarp>
                </a:bodyPr>
                <a:lstStyle/>
                <a:p>
                  <a:pPr defTabSz="913844"/>
                  <a:endParaRPr lang="en-US" sz="1568" dirty="0">
                    <a:solidFill>
                      <a:srgbClr val="000000"/>
                    </a:solidFill>
                  </a:endParaRPr>
                </a:p>
              </p:txBody>
            </p:sp>
          </p:grpSp>
        </p:grpSp>
      </p:grpSp>
      <p:sp>
        <p:nvSpPr>
          <p:cNvPr id="25" name="Title 24"/>
          <p:cNvSpPr>
            <a:spLocks noGrp="1"/>
          </p:cNvSpPr>
          <p:nvPr>
            <p:ph type="title"/>
          </p:nvPr>
        </p:nvSpPr>
        <p:spPr/>
        <p:txBody>
          <a:bodyPr/>
          <a:lstStyle/>
          <a:p>
            <a:r>
              <a:rPr lang="en-US" dirty="0" smtClean="0"/>
              <a:t>Comprehensive cloud services</a:t>
            </a:r>
            <a:endParaRPr lang="en-US" dirty="0"/>
          </a:p>
        </p:txBody>
      </p:sp>
      <p:grpSp>
        <p:nvGrpSpPr>
          <p:cNvPr id="325" name="Group 324"/>
          <p:cNvGrpSpPr/>
          <p:nvPr/>
        </p:nvGrpSpPr>
        <p:grpSpPr>
          <a:xfrm>
            <a:off x="577107" y="1191609"/>
            <a:ext cx="4430998" cy="5188124"/>
            <a:chOff x="588678" y="1215006"/>
            <a:chExt cx="4519849" cy="5292157"/>
          </a:xfrm>
        </p:grpSpPr>
        <p:grpSp>
          <p:nvGrpSpPr>
            <p:cNvPr id="73" name="Group 72"/>
            <p:cNvGrpSpPr/>
            <p:nvPr/>
          </p:nvGrpSpPr>
          <p:grpSpPr>
            <a:xfrm>
              <a:off x="588678" y="1215006"/>
              <a:ext cx="4519849" cy="5292157"/>
              <a:chOff x="588678" y="1215006"/>
              <a:chExt cx="4519849" cy="5292157"/>
            </a:xfrm>
          </p:grpSpPr>
          <p:sp>
            <p:nvSpPr>
              <p:cNvPr id="86" name="Freeform 18"/>
              <p:cNvSpPr>
                <a:spLocks noEditPoints="1"/>
              </p:cNvSpPr>
              <p:nvPr/>
            </p:nvSpPr>
            <p:spPr bwMode="auto">
              <a:xfrm>
                <a:off x="588678" y="1215006"/>
                <a:ext cx="4519849" cy="5292157"/>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r>
                  <a:rPr lang="en-US" sz="2353" dirty="0">
                    <a:solidFill>
                      <a:srgbClr val="FFFFFF"/>
                    </a:solidFill>
                    <a:latin typeface="Segoe UI Light"/>
                    <a:ea typeface="Segoe UI" pitchFamily="34" charset="0"/>
                    <a:cs typeface="Segoe UI Semibold" panose="020B0702040204020203" pitchFamily="34" charset="0"/>
                  </a:rPr>
                  <a:t>Infrastructure</a:t>
                </a:r>
              </a:p>
            </p:txBody>
          </p:sp>
          <p:grpSp>
            <p:nvGrpSpPr>
              <p:cNvPr id="72" name="Group 71"/>
              <p:cNvGrpSpPr/>
              <p:nvPr/>
            </p:nvGrpSpPr>
            <p:grpSpPr>
              <a:xfrm>
                <a:off x="588678" y="1657350"/>
                <a:ext cx="4519849" cy="4759482"/>
                <a:chOff x="588678" y="1657350"/>
                <a:chExt cx="4519849" cy="4759482"/>
              </a:xfrm>
            </p:grpSpPr>
            <p:sp>
              <p:nvSpPr>
                <p:cNvPr id="147" name="Freeform 18"/>
                <p:cNvSpPr>
                  <a:spLocks noEditPoints="1"/>
                </p:cNvSpPr>
                <p:nvPr/>
              </p:nvSpPr>
              <p:spPr bwMode="auto">
                <a:xfrm>
                  <a:off x="588678" y="1657350"/>
                  <a:ext cx="4519849" cy="4759482"/>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US" sz="2353" dirty="0">
                    <a:solidFill>
                      <a:srgbClr val="FFFFFF"/>
                    </a:solidFill>
                    <a:latin typeface="Segoe UI Light"/>
                    <a:ea typeface="Segoe UI" pitchFamily="34" charset="0"/>
                    <a:cs typeface="Segoe UI Semibold" panose="020B0702040204020203" pitchFamily="34" charset="0"/>
                  </a:endParaRPr>
                </a:p>
              </p:txBody>
            </p:sp>
            <p:grpSp>
              <p:nvGrpSpPr>
                <p:cNvPr id="150" name="Group 149"/>
                <p:cNvGrpSpPr/>
                <p:nvPr/>
              </p:nvGrpSpPr>
              <p:grpSpPr>
                <a:xfrm>
                  <a:off x="646010" y="1716661"/>
                  <a:ext cx="4405184" cy="2054847"/>
                  <a:chOff x="6118747" y="3828286"/>
                  <a:chExt cx="5693419" cy="2655758"/>
                </a:xfrm>
              </p:grpSpPr>
              <p:pic>
                <p:nvPicPr>
                  <p:cNvPr id="151" name="Picture 150"/>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8" t="-128" r="64575" b="52673"/>
                  <a:stretch/>
                </p:blipFill>
                <p:spPr>
                  <a:xfrm>
                    <a:off x="6118747" y="3828286"/>
                    <a:ext cx="5693419" cy="2655758"/>
                  </a:xfrm>
                  <a:prstGeom prst="rect">
                    <a:avLst/>
                  </a:prstGeom>
                </p:spPr>
              </p:pic>
              <p:sp>
                <p:nvSpPr>
                  <p:cNvPr id="152" name="Oval 151"/>
                  <p:cNvSpPr/>
                  <p:nvPr/>
                </p:nvSpPr>
                <p:spPr bwMode="auto">
                  <a:xfrm>
                    <a:off x="9382714" y="5320301"/>
                    <a:ext cx="153634" cy="153634"/>
                  </a:xfrm>
                  <a:prstGeom prst="ellipse">
                    <a:avLst/>
                  </a:prstGeom>
                  <a:solidFill>
                    <a:schemeClr val="accent4">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3" rIns="91428" bIns="45713" numCol="1" rtlCol="0" anchor="ctr" anchorCtr="0" compatLnSpc="1">
                    <a:prstTxWarp prst="textNoShape">
                      <a:avLst/>
                    </a:prstTxWarp>
                  </a:bodyPr>
                  <a:lstStyle/>
                  <a:p>
                    <a:pPr algn="ctr" defTabSz="913419"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53" name="Oval 152"/>
                  <p:cNvSpPr/>
                  <p:nvPr/>
                </p:nvSpPr>
                <p:spPr bwMode="auto">
                  <a:xfrm>
                    <a:off x="9215944" y="5435294"/>
                    <a:ext cx="153634" cy="153634"/>
                  </a:xfrm>
                  <a:prstGeom prst="ellipse">
                    <a:avLst/>
                  </a:prstGeom>
                  <a:solidFill>
                    <a:schemeClr val="accent4">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3" rIns="91428" bIns="45713" numCol="1" rtlCol="0" anchor="ctr" anchorCtr="0" compatLnSpc="1">
                    <a:prstTxWarp prst="textNoShape">
                      <a:avLst/>
                    </a:prstTxWarp>
                  </a:bodyPr>
                  <a:lstStyle/>
                  <a:p>
                    <a:pPr algn="ctr" defTabSz="913419"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54" name="Oval 153"/>
                  <p:cNvSpPr/>
                  <p:nvPr/>
                </p:nvSpPr>
                <p:spPr bwMode="auto">
                  <a:xfrm>
                    <a:off x="7496119" y="4987381"/>
                    <a:ext cx="153634" cy="153634"/>
                  </a:xfrm>
                  <a:prstGeom prst="ellipse">
                    <a:avLst/>
                  </a:prstGeom>
                  <a:solidFill>
                    <a:schemeClr val="accent4">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3" rIns="91428" bIns="45713" numCol="1" rtlCol="0" anchor="ctr" anchorCtr="0" compatLnSpc="1">
                    <a:prstTxWarp prst="textNoShape">
                      <a:avLst/>
                    </a:prstTxWarp>
                  </a:bodyPr>
                  <a:lstStyle/>
                  <a:p>
                    <a:pPr algn="ctr" defTabSz="913419" fontAlgn="base">
                      <a:spcBef>
                        <a:spcPct val="0"/>
                      </a:spcBef>
                      <a:spcAft>
                        <a:spcPct val="0"/>
                      </a:spcAft>
                    </a:pPr>
                    <a:endParaRPr lang="en-US" sz="2157" dirty="0">
                      <a:gradFill>
                        <a:gsLst>
                          <a:gs pos="0">
                            <a:srgbClr val="FFFFFF"/>
                          </a:gs>
                          <a:gs pos="100000">
                            <a:srgbClr val="FFFFFF"/>
                          </a:gs>
                        </a:gsLst>
                        <a:lin ang="5400000" scaled="0"/>
                      </a:gradFill>
                    </a:endParaRPr>
                  </a:p>
                </p:txBody>
              </p:sp>
              <p:sp>
                <p:nvSpPr>
                  <p:cNvPr id="155" name="Oval 154"/>
                  <p:cNvSpPr/>
                  <p:nvPr/>
                </p:nvSpPr>
                <p:spPr bwMode="auto">
                  <a:xfrm>
                    <a:off x="8376766" y="5161505"/>
                    <a:ext cx="153634" cy="153634"/>
                  </a:xfrm>
                  <a:prstGeom prst="ellipse">
                    <a:avLst/>
                  </a:prstGeom>
                  <a:solidFill>
                    <a:schemeClr val="accent4">
                      <a:alpha val="7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45713" rIns="91428" bIns="45713" numCol="1" rtlCol="0" anchor="ctr" anchorCtr="0" compatLnSpc="1">
                    <a:prstTxWarp prst="textNoShape">
                      <a:avLst/>
                    </a:prstTxWarp>
                  </a:bodyPr>
                  <a:lstStyle/>
                  <a:p>
                    <a:pPr algn="ctr" defTabSz="913419" fontAlgn="base">
                      <a:spcBef>
                        <a:spcPct val="0"/>
                      </a:spcBef>
                      <a:spcAft>
                        <a:spcPct val="0"/>
                      </a:spcAft>
                    </a:pPr>
                    <a:endParaRPr lang="en-US" sz="2157" dirty="0">
                      <a:gradFill>
                        <a:gsLst>
                          <a:gs pos="0">
                            <a:srgbClr val="FFFFFF"/>
                          </a:gs>
                          <a:gs pos="100000">
                            <a:srgbClr val="FFFFFF"/>
                          </a:gs>
                        </a:gsLst>
                        <a:lin ang="5400000" scaled="0"/>
                      </a:gradFill>
                    </a:endParaRPr>
                  </a:p>
                </p:txBody>
              </p:sp>
            </p:grpSp>
          </p:grpSp>
        </p:grpSp>
        <p:grpSp>
          <p:nvGrpSpPr>
            <p:cNvPr id="71" name="Group 70"/>
            <p:cNvGrpSpPr/>
            <p:nvPr/>
          </p:nvGrpSpPr>
          <p:grpSpPr>
            <a:xfrm>
              <a:off x="588678" y="3875426"/>
              <a:ext cx="4504868" cy="2523725"/>
              <a:chOff x="588678" y="3875426"/>
              <a:chExt cx="4504868" cy="2523725"/>
            </a:xfrm>
          </p:grpSpPr>
          <p:sp>
            <p:nvSpPr>
              <p:cNvPr id="156" name="Rectangle 155"/>
              <p:cNvSpPr/>
              <p:nvPr/>
            </p:nvSpPr>
            <p:spPr bwMode="auto">
              <a:xfrm>
                <a:off x="588678" y="3875426"/>
                <a:ext cx="4504868" cy="98569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83" tIns="134464" rIns="179183" bIns="134464" numCol="1" spcCol="0" rtlCol="0" fromWordArt="0" anchor="ctr" anchorCtr="0" forceAA="0" compatLnSpc="1">
                <a:prstTxWarp prst="textNoShape">
                  <a:avLst/>
                </a:prstTxWarp>
                <a:noAutofit/>
              </a:bodyPr>
              <a:lstStyle/>
              <a:p>
                <a:pPr defTabSz="1449057"/>
                <a:r>
                  <a:rPr lang="en-US" sz="2353" dirty="0">
                    <a:solidFill>
                      <a:srgbClr val="0072C6"/>
                    </a:solidFill>
                    <a:latin typeface="Segoe UI Light"/>
                    <a:ea typeface="Segoe UI" pitchFamily="34" charset="0"/>
                    <a:cs typeface="Segoe UI" pitchFamily="34" charset="0"/>
                  </a:rPr>
                  <a:t>CONUS </a:t>
                </a:r>
                <a:r>
                  <a:rPr lang="en-US" sz="2353" dirty="0">
                    <a:solidFill>
                      <a:srgbClr val="0072C6"/>
                    </a:solidFill>
                    <a:latin typeface="Segoe UI Light"/>
                    <a:ea typeface="Segoe UI" pitchFamily="34" charset="0"/>
                    <a:cs typeface="Segoe UI" pitchFamily="34" charset="0"/>
                  </a:rPr>
                  <a:t>physical infrastructure</a:t>
                </a:r>
                <a:endParaRPr lang="en-US" sz="2353" dirty="0">
                  <a:solidFill>
                    <a:srgbClr val="0072C6"/>
                  </a:solidFill>
                  <a:latin typeface="Segoe UI Light"/>
                  <a:ea typeface="Segoe UI" pitchFamily="34" charset="0"/>
                  <a:cs typeface="Segoe UI" pitchFamily="34" charset="0"/>
                </a:endParaRPr>
              </a:p>
              <a:p>
                <a:pPr defTabSz="1449057"/>
                <a:r>
                  <a:rPr lang="en-US" sz="1568" i="1" dirty="0">
                    <a:solidFill>
                      <a:srgbClr val="0072C6"/>
                    </a:solidFill>
                    <a:latin typeface="Segoe UI Semibold" panose="020B0702040204020203" pitchFamily="34" charset="0"/>
                    <a:ea typeface="Segoe UI" pitchFamily="34" charset="0"/>
                    <a:cs typeface="Segoe UI" pitchFamily="34" charset="0"/>
                  </a:rPr>
                  <a:t>servers/network/datacenters/operations</a:t>
                </a:r>
              </a:p>
            </p:txBody>
          </p:sp>
          <p:sp>
            <p:nvSpPr>
              <p:cNvPr id="157" name="TextBox 156"/>
              <p:cNvSpPr txBox="1"/>
              <p:nvPr/>
            </p:nvSpPr>
            <p:spPr>
              <a:xfrm>
                <a:off x="695542" y="5933532"/>
                <a:ext cx="4377472" cy="465619"/>
              </a:xfrm>
              <a:prstGeom prst="rect">
                <a:avLst/>
              </a:prstGeom>
              <a:noFill/>
            </p:spPr>
            <p:txBody>
              <a:bodyPr wrap="square" lIns="89592" tIns="44796" rIns="89592" bIns="44796" rtlCol="0">
                <a:spAutoFit/>
              </a:bodyPr>
              <a:lstStyle/>
              <a:p>
                <a:pPr defTabSz="913679">
                  <a:spcBef>
                    <a:spcPct val="20000"/>
                  </a:spcBef>
                  <a:buSzPct val="80000"/>
                </a:pPr>
                <a:r>
                  <a:rPr lang="en-US" sz="1078" dirty="0">
                    <a:solidFill>
                      <a:srgbClr val="0072C6"/>
                    </a:solidFill>
                  </a:rPr>
                  <a:t>U.S. Gov. Virginia and U.S. Gov. Iowa</a:t>
                </a:r>
              </a:p>
              <a:p>
                <a:pPr defTabSz="913679">
                  <a:spcBef>
                    <a:spcPct val="20000"/>
                  </a:spcBef>
                  <a:buSzPct val="80000"/>
                </a:pPr>
                <a:r>
                  <a:rPr lang="en-US" sz="1078" dirty="0">
                    <a:solidFill>
                      <a:srgbClr val="0072C6"/>
                    </a:solidFill>
                  </a:rPr>
                  <a:t>NOC in Redmond and Washington DC</a:t>
                </a:r>
              </a:p>
            </p:txBody>
          </p:sp>
          <p:sp>
            <p:nvSpPr>
              <p:cNvPr id="158" name="TextBox 157"/>
              <p:cNvSpPr txBox="1"/>
              <p:nvPr/>
            </p:nvSpPr>
            <p:spPr>
              <a:xfrm>
                <a:off x="1164085" y="5030004"/>
                <a:ext cx="1666422" cy="676242"/>
              </a:xfrm>
              <a:prstGeom prst="rect">
                <a:avLst/>
              </a:prstGeom>
              <a:noFill/>
            </p:spPr>
            <p:txBody>
              <a:bodyPr wrap="square" lIns="0" tIns="0" rIns="0" bIns="0" rtlCol="0">
                <a:spAutoFit/>
              </a:bodyPr>
              <a:lstStyle/>
              <a:p>
                <a:pPr defTabSz="913679">
                  <a:spcBef>
                    <a:spcPts val="1763"/>
                  </a:spcBef>
                  <a:buSzPct val="80000"/>
                </a:pPr>
                <a:r>
                  <a:rPr lang="en-US" sz="1372" dirty="0">
                    <a:solidFill>
                      <a:srgbClr val="0072C6"/>
                    </a:solidFill>
                  </a:rPr>
                  <a:t>Automated</a:t>
                </a:r>
              </a:p>
              <a:p>
                <a:pPr defTabSz="913679">
                  <a:spcBef>
                    <a:spcPts val="1763"/>
                  </a:spcBef>
                  <a:buSzPct val="80000"/>
                </a:pPr>
                <a:r>
                  <a:rPr lang="en-US" sz="1372" dirty="0">
                    <a:solidFill>
                      <a:srgbClr val="0072C6"/>
                    </a:solidFill>
                  </a:rPr>
                  <a:t>Managed </a:t>
                </a:r>
                <a:r>
                  <a:rPr lang="en-US" sz="1372" dirty="0">
                    <a:solidFill>
                      <a:srgbClr val="0072C6"/>
                    </a:solidFill>
                  </a:rPr>
                  <a:t>resources</a:t>
                </a:r>
                <a:endParaRPr lang="en-US" sz="1372" dirty="0">
                  <a:solidFill>
                    <a:srgbClr val="0072C6"/>
                  </a:solidFill>
                </a:endParaRPr>
              </a:p>
            </p:txBody>
          </p:sp>
          <p:sp>
            <p:nvSpPr>
              <p:cNvPr id="159" name="TextBox 158"/>
              <p:cNvSpPr txBox="1"/>
              <p:nvPr/>
            </p:nvSpPr>
            <p:spPr>
              <a:xfrm>
                <a:off x="3424104" y="5030007"/>
                <a:ext cx="1666421" cy="676242"/>
              </a:xfrm>
              <a:prstGeom prst="rect">
                <a:avLst/>
              </a:prstGeom>
              <a:noFill/>
            </p:spPr>
            <p:txBody>
              <a:bodyPr wrap="square" lIns="0" tIns="0" rIns="0" bIns="0" rtlCol="0">
                <a:spAutoFit/>
              </a:bodyPr>
              <a:lstStyle/>
              <a:p>
                <a:pPr defTabSz="913679">
                  <a:spcBef>
                    <a:spcPts val="1763"/>
                  </a:spcBef>
                  <a:buSzPct val="80000"/>
                </a:pPr>
                <a:r>
                  <a:rPr lang="en-US" sz="1372" dirty="0">
                    <a:solidFill>
                      <a:srgbClr val="0072C6"/>
                    </a:solidFill>
                  </a:rPr>
                  <a:t>Elastic</a:t>
                </a:r>
              </a:p>
              <a:p>
                <a:pPr defTabSz="913679">
                  <a:spcBef>
                    <a:spcPts val="1763"/>
                  </a:spcBef>
                  <a:buSzPct val="80000"/>
                </a:pPr>
                <a:r>
                  <a:rPr lang="en-US" sz="1372" dirty="0">
                    <a:solidFill>
                      <a:srgbClr val="0072C6"/>
                    </a:solidFill>
                  </a:rPr>
                  <a:t>Usage </a:t>
                </a:r>
                <a:r>
                  <a:rPr lang="en-US" sz="1372" dirty="0">
                    <a:solidFill>
                      <a:srgbClr val="0072C6"/>
                    </a:solidFill>
                  </a:rPr>
                  <a:t>based</a:t>
                </a:r>
                <a:endParaRPr lang="en-US" sz="1372" dirty="0">
                  <a:solidFill>
                    <a:srgbClr val="0072C6"/>
                  </a:solidFill>
                </a:endParaRPr>
              </a:p>
            </p:txBody>
          </p:sp>
          <p:sp>
            <p:nvSpPr>
              <p:cNvPr id="160" name="Freeform 123"/>
              <p:cNvSpPr>
                <a:spLocks noEditPoints="1"/>
              </p:cNvSpPr>
              <p:nvPr/>
            </p:nvSpPr>
            <p:spPr bwMode="black">
              <a:xfrm>
                <a:off x="818756" y="5043859"/>
                <a:ext cx="192408" cy="195558"/>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chemeClr val="accent1"/>
              </a:solidFill>
              <a:ln>
                <a:noFill/>
              </a:ln>
              <a:extLst/>
            </p:spPr>
            <p:txBody>
              <a:bodyPr vert="horz" wrap="square" lIns="106613" tIns="53309" rIns="106613" bIns="53309" numCol="1" anchor="t" anchorCtr="0" compatLnSpc="1">
                <a:prstTxWarp prst="textNoShape">
                  <a:avLst/>
                </a:prstTxWarp>
              </a:bodyPr>
              <a:lstStyle/>
              <a:p>
                <a:pPr defTabSz="684329"/>
                <a:endParaRPr lang="en-US" sz="1863" dirty="0">
                  <a:solidFill>
                    <a:srgbClr val="505050"/>
                  </a:solidFill>
                </a:endParaRPr>
              </a:p>
            </p:txBody>
          </p:sp>
          <p:grpSp>
            <p:nvGrpSpPr>
              <p:cNvPr id="161" name="Group 160"/>
              <p:cNvGrpSpPr/>
              <p:nvPr/>
            </p:nvGrpSpPr>
            <p:grpSpPr>
              <a:xfrm>
                <a:off x="786982" y="5356469"/>
                <a:ext cx="238041" cy="295085"/>
                <a:chOff x="809170" y="4460033"/>
                <a:chExt cx="1034305" cy="1499133"/>
              </a:xfrm>
              <a:solidFill>
                <a:schemeClr val="accent1"/>
              </a:solidFill>
            </p:grpSpPr>
            <p:sp>
              <p:nvSpPr>
                <p:cNvPr id="162" name="Rectangle 161"/>
                <p:cNvSpPr/>
                <p:nvPr/>
              </p:nvSpPr>
              <p:spPr>
                <a:xfrm>
                  <a:off x="809170" y="4907902"/>
                  <a:ext cx="262020" cy="6624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490">
                    <a:solidFill>
                      <a:srgbClr val="FFFFFF"/>
                    </a:solidFill>
                  </a:endParaRPr>
                </a:p>
              </p:txBody>
            </p:sp>
            <p:sp>
              <p:nvSpPr>
                <p:cNvPr id="163" name="Rectangle 162"/>
                <p:cNvSpPr/>
                <p:nvPr/>
              </p:nvSpPr>
              <p:spPr>
                <a:xfrm>
                  <a:off x="1195312" y="4460033"/>
                  <a:ext cx="262020" cy="111034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490" b="1">
                    <a:solidFill>
                      <a:srgbClr val="FFFFFF"/>
                    </a:solidFill>
                  </a:endParaRPr>
                </a:p>
              </p:txBody>
            </p:sp>
            <p:sp>
              <p:nvSpPr>
                <p:cNvPr id="164" name="Rectangle 163"/>
                <p:cNvSpPr/>
                <p:nvPr/>
              </p:nvSpPr>
              <p:spPr>
                <a:xfrm>
                  <a:off x="1581455" y="5239139"/>
                  <a:ext cx="262020" cy="3312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490">
                    <a:solidFill>
                      <a:srgbClr val="FFFFFF"/>
                    </a:solidFill>
                  </a:endParaRPr>
                </a:p>
              </p:txBody>
            </p:sp>
            <p:sp>
              <p:nvSpPr>
                <p:cNvPr id="165" name="Rectangle 164"/>
                <p:cNvSpPr/>
                <p:nvPr/>
              </p:nvSpPr>
              <p:spPr>
                <a:xfrm>
                  <a:off x="809170" y="5573921"/>
                  <a:ext cx="262023" cy="3852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3844"/>
                  <a:r>
                    <a:rPr lang="en-US" sz="490" dirty="0">
                      <a:solidFill>
                        <a:srgbClr val="FFFFFF"/>
                      </a:solidFill>
                    </a:rPr>
                    <a:t>1</a:t>
                  </a:r>
                </a:p>
              </p:txBody>
            </p:sp>
            <p:sp>
              <p:nvSpPr>
                <p:cNvPr id="166" name="Rectangle 165"/>
                <p:cNvSpPr/>
                <p:nvPr/>
              </p:nvSpPr>
              <p:spPr>
                <a:xfrm>
                  <a:off x="1195307" y="5573921"/>
                  <a:ext cx="262023" cy="3852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3844"/>
                  <a:r>
                    <a:rPr lang="en-US" sz="490" dirty="0">
                      <a:solidFill>
                        <a:srgbClr val="FFFFFF"/>
                      </a:solidFill>
                    </a:rPr>
                    <a:t>2</a:t>
                  </a:r>
                </a:p>
              </p:txBody>
            </p:sp>
            <p:sp>
              <p:nvSpPr>
                <p:cNvPr id="167" name="Rectangle 166"/>
                <p:cNvSpPr/>
                <p:nvPr/>
              </p:nvSpPr>
              <p:spPr>
                <a:xfrm>
                  <a:off x="1581452" y="5573921"/>
                  <a:ext cx="262023" cy="3852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3844"/>
                  <a:r>
                    <a:rPr lang="en-US" sz="490" dirty="0">
                      <a:solidFill>
                        <a:srgbClr val="FFFFFF"/>
                      </a:solidFill>
                    </a:rPr>
                    <a:t>3</a:t>
                  </a:r>
                </a:p>
              </p:txBody>
            </p:sp>
          </p:grpSp>
          <p:sp>
            <p:nvSpPr>
              <p:cNvPr id="168" name="Rounded Rectangle 207"/>
              <p:cNvSpPr/>
              <p:nvPr/>
            </p:nvSpPr>
            <p:spPr>
              <a:xfrm flipH="1">
                <a:off x="2949280" y="5061569"/>
                <a:ext cx="294135" cy="164482"/>
              </a:xfrm>
              <a:custGeom>
                <a:avLst/>
                <a:gdLst/>
                <a:ahLst/>
                <a:cxnLst/>
                <a:rect l="l" t="t" r="r" b="b"/>
                <a:pathLst>
                  <a:path w="1032202" h="577215">
                    <a:moveTo>
                      <a:pt x="837858" y="40957"/>
                    </a:moveTo>
                    <a:cubicBezTo>
                      <a:pt x="605776" y="85407"/>
                      <a:pt x="448396" y="85407"/>
                      <a:pt x="194343" y="40957"/>
                    </a:cubicBezTo>
                    <a:lnTo>
                      <a:pt x="194343" y="536257"/>
                    </a:lnTo>
                    <a:cubicBezTo>
                      <a:pt x="413242" y="504507"/>
                      <a:pt x="601382" y="491807"/>
                      <a:pt x="837858" y="536257"/>
                    </a:cubicBezTo>
                    <a:close/>
                    <a:moveTo>
                      <a:pt x="138842" y="24987"/>
                    </a:moveTo>
                    <a:lnTo>
                      <a:pt x="124027" y="24987"/>
                    </a:lnTo>
                    <a:cubicBezTo>
                      <a:pt x="109195" y="24987"/>
                      <a:pt x="97171" y="37011"/>
                      <a:pt x="97171" y="51843"/>
                    </a:cubicBezTo>
                    <a:lnTo>
                      <a:pt x="97171" y="525371"/>
                    </a:lnTo>
                    <a:cubicBezTo>
                      <a:pt x="97171" y="540203"/>
                      <a:pt x="109195" y="552227"/>
                      <a:pt x="124027" y="552227"/>
                    </a:cubicBezTo>
                    <a:lnTo>
                      <a:pt x="138842" y="552227"/>
                    </a:lnTo>
                    <a:cubicBezTo>
                      <a:pt x="153674" y="552227"/>
                      <a:pt x="165698" y="540203"/>
                      <a:pt x="165698" y="525371"/>
                    </a:cubicBezTo>
                    <a:lnTo>
                      <a:pt x="165698" y="51843"/>
                    </a:lnTo>
                    <a:cubicBezTo>
                      <a:pt x="165698" y="37011"/>
                      <a:pt x="153674" y="24987"/>
                      <a:pt x="138842" y="24987"/>
                    </a:cubicBezTo>
                    <a:close/>
                    <a:moveTo>
                      <a:pt x="908174" y="24987"/>
                    </a:moveTo>
                    <a:lnTo>
                      <a:pt x="893359" y="24987"/>
                    </a:lnTo>
                    <a:cubicBezTo>
                      <a:pt x="878527" y="24987"/>
                      <a:pt x="866503" y="37011"/>
                      <a:pt x="866503" y="51843"/>
                    </a:cubicBezTo>
                    <a:lnTo>
                      <a:pt x="866503" y="525371"/>
                    </a:lnTo>
                    <a:cubicBezTo>
                      <a:pt x="866503" y="540203"/>
                      <a:pt x="878527" y="552227"/>
                      <a:pt x="893359" y="552227"/>
                    </a:cubicBezTo>
                    <a:lnTo>
                      <a:pt x="908174" y="552227"/>
                    </a:lnTo>
                    <a:cubicBezTo>
                      <a:pt x="923006" y="552227"/>
                      <a:pt x="935030" y="540203"/>
                      <a:pt x="935030" y="525371"/>
                    </a:cubicBezTo>
                    <a:lnTo>
                      <a:pt x="935030" y="51843"/>
                    </a:lnTo>
                    <a:cubicBezTo>
                      <a:pt x="935030" y="37011"/>
                      <a:pt x="923006" y="24987"/>
                      <a:pt x="908174" y="24987"/>
                    </a:cubicBezTo>
                    <a:close/>
                    <a:moveTo>
                      <a:pt x="41671" y="0"/>
                    </a:moveTo>
                    <a:lnTo>
                      <a:pt x="26856" y="0"/>
                    </a:lnTo>
                    <a:cubicBezTo>
                      <a:pt x="12024" y="0"/>
                      <a:pt x="0" y="12024"/>
                      <a:pt x="0" y="26856"/>
                    </a:cubicBezTo>
                    <a:lnTo>
                      <a:pt x="0" y="550359"/>
                    </a:lnTo>
                    <a:cubicBezTo>
                      <a:pt x="0" y="565191"/>
                      <a:pt x="12024" y="577215"/>
                      <a:pt x="26856" y="577215"/>
                    </a:cubicBezTo>
                    <a:lnTo>
                      <a:pt x="41671" y="577215"/>
                    </a:lnTo>
                    <a:cubicBezTo>
                      <a:pt x="56503" y="577215"/>
                      <a:pt x="68527" y="565191"/>
                      <a:pt x="68527" y="550359"/>
                    </a:cubicBezTo>
                    <a:lnTo>
                      <a:pt x="68527" y="26856"/>
                    </a:lnTo>
                    <a:cubicBezTo>
                      <a:pt x="68527" y="12024"/>
                      <a:pt x="56503" y="0"/>
                      <a:pt x="41671" y="0"/>
                    </a:cubicBezTo>
                    <a:close/>
                    <a:moveTo>
                      <a:pt x="1005346" y="0"/>
                    </a:moveTo>
                    <a:lnTo>
                      <a:pt x="990531" y="0"/>
                    </a:lnTo>
                    <a:cubicBezTo>
                      <a:pt x="975699" y="0"/>
                      <a:pt x="963675" y="12024"/>
                      <a:pt x="963675" y="26856"/>
                    </a:cubicBezTo>
                    <a:lnTo>
                      <a:pt x="963675" y="550359"/>
                    </a:lnTo>
                    <a:cubicBezTo>
                      <a:pt x="963675" y="565191"/>
                      <a:pt x="975699" y="577215"/>
                      <a:pt x="990531" y="577215"/>
                    </a:cubicBezTo>
                    <a:lnTo>
                      <a:pt x="1005346" y="577215"/>
                    </a:lnTo>
                    <a:cubicBezTo>
                      <a:pt x="1020178" y="577215"/>
                      <a:pt x="1032202" y="565191"/>
                      <a:pt x="1032202" y="550359"/>
                    </a:cubicBezTo>
                    <a:lnTo>
                      <a:pt x="1032202" y="26856"/>
                    </a:lnTo>
                    <a:cubicBezTo>
                      <a:pt x="1032202" y="12024"/>
                      <a:pt x="1020178" y="0"/>
                      <a:pt x="100534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592" tIns="44796" rIns="89592" bIns="44796" rtlCol="0" anchor="ctr"/>
              <a:lstStyle/>
              <a:p>
                <a:pPr algn="ctr" defTabSz="913844"/>
                <a:endParaRPr lang="en-US" sz="1765">
                  <a:solidFill>
                    <a:srgbClr val="FFFFFF"/>
                  </a:solidFill>
                </a:endParaRPr>
              </a:p>
            </p:txBody>
          </p:sp>
          <p:grpSp>
            <p:nvGrpSpPr>
              <p:cNvPr id="169" name="Group 168"/>
              <p:cNvGrpSpPr/>
              <p:nvPr/>
            </p:nvGrpSpPr>
            <p:grpSpPr>
              <a:xfrm>
                <a:off x="2943656" y="5449142"/>
                <a:ext cx="328464" cy="240989"/>
                <a:chOff x="192502" y="4375427"/>
                <a:chExt cx="1378179" cy="1011151"/>
              </a:xfrm>
              <a:solidFill>
                <a:schemeClr val="accent1"/>
              </a:solidFill>
            </p:grpSpPr>
            <p:grpSp>
              <p:nvGrpSpPr>
                <p:cNvPr id="170" name="Group 169"/>
                <p:cNvGrpSpPr/>
                <p:nvPr/>
              </p:nvGrpSpPr>
              <p:grpSpPr>
                <a:xfrm>
                  <a:off x="192502" y="4375427"/>
                  <a:ext cx="1378179" cy="338328"/>
                  <a:chOff x="192502" y="4375427"/>
                  <a:chExt cx="1378179" cy="338328"/>
                </a:xfrm>
                <a:grpFill/>
              </p:grpSpPr>
              <p:sp>
                <p:nvSpPr>
                  <p:cNvPr id="179" name="Rectangle 178"/>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80" name="Rectangle 179"/>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81" name="Rounded Rectangle 180"/>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grpSp>
            <p:grpSp>
              <p:nvGrpSpPr>
                <p:cNvPr id="171" name="Group 170"/>
                <p:cNvGrpSpPr/>
                <p:nvPr/>
              </p:nvGrpSpPr>
              <p:grpSpPr>
                <a:xfrm>
                  <a:off x="192502" y="5048250"/>
                  <a:ext cx="1378179" cy="338328"/>
                  <a:chOff x="192502" y="4375427"/>
                  <a:chExt cx="1378179" cy="338328"/>
                </a:xfrm>
                <a:grpFill/>
              </p:grpSpPr>
              <p:sp>
                <p:nvSpPr>
                  <p:cNvPr id="176" name="Rectangle 175"/>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77" name="Rectangle 176"/>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78" name="Rounded Rectangle 177"/>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grpSp>
            <p:grpSp>
              <p:nvGrpSpPr>
                <p:cNvPr id="172" name="Group 171"/>
                <p:cNvGrpSpPr/>
                <p:nvPr/>
              </p:nvGrpSpPr>
              <p:grpSpPr>
                <a:xfrm flipH="1">
                  <a:off x="192502" y="4711838"/>
                  <a:ext cx="1378179" cy="338328"/>
                  <a:chOff x="192502" y="4375427"/>
                  <a:chExt cx="1378179" cy="338328"/>
                </a:xfrm>
                <a:grpFill/>
              </p:grpSpPr>
              <p:sp>
                <p:nvSpPr>
                  <p:cNvPr id="173" name="Rectangle 172"/>
                  <p:cNvSpPr/>
                  <p:nvPr/>
                </p:nvSpPr>
                <p:spPr>
                  <a:xfrm>
                    <a:off x="192502" y="4460033"/>
                    <a:ext cx="802641"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74" name="Rectangle 173"/>
                  <p:cNvSpPr/>
                  <p:nvPr/>
                </p:nvSpPr>
                <p:spPr>
                  <a:xfrm>
                    <a:off x="1232839" y="4460033"/>
                    <a:ext cx="337842" cy="16911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sp>
                <p:nvSpPr>
                  <p:cNvPr id="175" name="Rounded Rectangle 174"/>
                  <p:cNvSpPr/>
                  <p:nvPr/>
                </p:nvSpPr>
                <p:spPr>
                  <a:xfrm>
                    <a:off x="1029409" y="4375427"/>
                    <a:ext cx="169164" cy="338328"/>
                  </a:xfrm>
                  <a:prstGeom prst="roundRect">
                    <a:avLst>
                      <a:gd name="adj" fmla="val 3919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grpSp>
          </p:grpSp>
        </p:grpSp>
      </p:grpSp>
      <p:grpSp>
        <p:nvGrpSpPr>
          <p:cNvPr id="323" name="Group 322"/>
          <p:cNvGrpSpPr/>
          <p:nvPr/>
        </p:nvGrpSpPr>
        <p:grpSpPr>
          <a:xfrm>
            <a:off x="7473554" y="1191609"/>
            <a:ext cx="2323019" cy="5188124"/>
            <a:chOff x="7620293" y="1215006"/>
            <a:chExt cx="2369600" cy="5292157"/>
          </a:xfrm>
        </p:grpSpPr>
        <p:sp>
          <p:nvSpPr>
            <p:cNvPr id="84" name="Freeform 18"/>
            <p:cNvSpPr>
              <a:spLocks noEditPoints="1"/>
            </p:cNvSpPr>
            <p:nvPr/>
          </p:nvSpPr>
          <p:spPr bwMode="auto">
            <a:xfrm>
              <a:off x="7620293" y="1215006"/>
              <a:ext cx="2359152" cy="5292157"/>
            </a:xfrm>
            <a:prstGeom prst="rect">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r>
                <a:rPr lang="en-US" sz="2353" dirty="0">
                  <a:solidFill>
                    <a:srgbClr val="FFFFFF"/>
                  </a:solidFill>
                  <a:latin typeface="Segoe UI Light"/>
                  <a:ea typeface="Segoe UI" pitchFamily="34" charset="0"/>
                  <a:cs typeface="Segoe UI Semibold" panose="020B0702040204020203" pitchFamily="34" charset="0"/>
                </a:rPr>
                <a:t>Services</a:t>
              </a:r>
            </a:p>
          </p:txBody>
        </p:sp>
        <p:grpSp>
          <p:nvGrpSpPr>
            <p:cNvPr id="322" name="Group 321"/>
            <p:cNvGrpSpPr/>
            <p:nvPr/>
          </p:nvGrpSpPr>
          <p:grpSpPr>
            <a:xfrm>
              <a:off x="7620293" y="1657350"/>
              <a:ext cx="2369600" cy="4762983"/>
              <a:chOff x="7620293" y="1657350"/>
              <a:chExt cx="2369600" cy="4762983"/>
            </a:xfrm>
          </p:grpSpPr>
          <p:grpSp>
            <p:nvGrpSpPr>
              <p:cNvPr id="102" name="Group 101"/>
              <p:cNvGrpSpPr/>
              <p:nvPr/>
            </p:nvGrpSpPr>
            <p:grpSpPr>
              <a:xfrm>
                <a:off x="7620293" y="1657350"/>
                <a:ext cx="2369600" cy="4762983"/>
                <a:chOff x="7620293" y="1657350"/>
                <a:chExt cx="2369600" cy="4762983"/>
              </a:xfrm>
            </p:grpSpPr>
            <p:sp>
              <p:nvSpPr>
                <p:cNvPr id="149" name="Freeform 18"/>
                <p:cNvSpPr>
                  <a:spLocks noEditPoints="1"/>
                </p:cNvSpPr>
                <p:nvPr/>
              </p:nvSpPr>
              <p:spPr bwMode="auto">
                <a:xfrm>
                  <a:off x="7620293" y="1657350"/>
                  <a:ext cx="2359152" cy="4759482"/>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US" sz="2353" dirty="0">
                    <a:solidFill>
                      <a:srgbClr val="FFFFFF"/>
                    </a:solidFill>
                    <a:latin typeface="Segoe UI Light"/>
                    <a:ea typeface="Segoe UI" pitchFamily="34" charset="0"/>
                    <a:cs typeface="Segoe UI Semibold" panose="020B0702040204020203" pitchFamily="34" charset="0"/>
                  </a:endParaRPr>
                </a:p>
              </p:txBody>
            </p:sp>
            <p:grpSp>
              <p:nvGrpSpPr>
                <p:cNvPr id="97" name="Group 96"/>
                <p:cNvGrpSpPr/>
                <p:nvPr/>
              </p:nvGrpSpPr>
              <p:grpSpPr>
                <a:xfrm>
                  <a:off x="7622772" y="1720102"/>
                  <a:ext cx="2367121" cy="4700231"/>
                  <a:chOff x="7622772" y="1720102"/>
                  <a:chExt cx="2367121" cy="4700231"/>
                </a:xfrm>
              </p:grpSpPr>
              <p:grpSp>
                <p:nvGrpSpPr>
                  <p:cNvPr id="64" name="Group 63"/>
                  <p:cNvGrpSpPr/>
                  <p:nvPr/>
                </p:nvGrpSpPr>
                <p:grpSpPr>
                  <a:xfrm>
                    <a:off x="7622772" y="5778974"/>
                    <a:ext cx="2367120" cy="641359"/>
                    <a:chOff x="7622772" y="5778974"/>
                    <a:chExt cx="2367120" cy="641359"/>
                  </a:xfrm>
                </p:grpSpPr>
                <p:sp>
                  <p:nvSpPr>
                    <p:cNvPr id="279" name="Rectangle 278"/>
                    <p:cNvSpPr/>
                    <p:nvPr/>
                  </p:nvSpPr>
                  <p:spPr bwMode="auto">
                    <a:xfrm>
                      <a:off x="7622772" y="5778974"/>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Tasks</a:t>
                      </a:r>
                    </a:p>
                  </p:txBody>
                </p:sp>
                <p:sp>
                  <p:nvSpPr>
                    <p:cNvPr id="280" name="Freeform 21"/>
                    <p:cNvSpPr>
                      <a:spLocks noEditPoints="1"/>
                    </p:cNvSpPr>
                    <p:nvPr/>
                  </p:nvSpPr>
                  <p:spPr bwMode="black">
                    <a:xfrm>
                      <a:off x="9420843" y="5901172"/>
                      <a:ext cx="394907" cy="396965"/>
                    </a:xfrm>
                    <a:custGeom>
                      <a:avLst/>
                      <a:gdLst>
                        <a:gd name="T0" fmla="*/ 75 w 300"/>
                        <a:gd name="T1" fmla="*/ 60 h 300"/>
                        <a:gd name="T2" fmla="*/ 37 w 300"/>
                        <a:gd name="T3" fmla="*/ 52 h 300"/>
                        <a:gd name="T4" fmla="*/ 0 w 300"/>
                        <a:gd name="T5" fmla="*/ 60 h 300"/>
                        <a:gd name="T6" fmla="*/ 0 w 300"/>
                        <a:gd name="T7" fmla="*/ 15 h 300"/>
                        <a:gd name="T8" fmla="*/ 37 w 300"/>
                        <a:gd name="T9" fmla="*/ 22 h 300"/>
                        <a:gd name="T10" fmla="*/ 75 w 300"/>
                        <a:gd name="T11" fmla="*/ 15 h 300"/>
                        <a:gd name="T12" fmla="*/ 300 w 300"/>
                        <a:gd name="T13" fmla="*/ 15 h 300"/>
                        <a:gd name="T14" fmla="*/ 262 w 300"/>
                        <a:gd name="T15" fmla="*/ 22 h 300"/>
                        <a:gd name="T16" fmla="*/ 225 w 300"/>
                        <a:gd name="T17" fmla="*/ 15 h 300"/>
                        <a:gd name="T18" fmla="*/ 225 w 300"/>
                        <a:gd name="T19" fmla="*/ 60 h 300"/>
                        <a:gd name="T20" fmla="*/ 262 w 300"/>
                        <a:gd name="T21" fmla="*/ 52 h 300"/>
                        <a:gd name="T22" fmla="*/ 300 w 300"/>
                        <a:gd name="T23" fmla="*/ 60 h 300"/>
                        <a:gd name="T24" fmla="*/ 300 w 300"/>
                        <a:gd name="T25" fmla="*/ 15 h 300"/>
                        <a:gd name="T26" fmla="*/ 173 w 300"/>
                        <a:gd name="T27" fmla="*/ 0 h 300"/>
                        <a:gd name="T28" fmla="*/ 128 w 300"/>
                        <a:gd name="T29" fmla="*/ 0 h 300"/>
                        <a:gd name="T30" fmla="*/ 135 w 300"/>
                        <a:gd name="T31" fmla="*/ 37 h 300"/>
                        <a:gd name="T32" fmla="*/ 128 w 300"/>
                        <a:gd name="T33" fmla="*/ 75 h 300"/>
                        <a:gd name="T34" fmla="*/ 173 w 300"/>
                        <a:gd name="T35" fmla="*/ 75 h 300"/>
                        <a:gd name="T36" fmla="*/ 165 w 300"/>
                        <a:gd name="T37" fmla="*/ 37 h 300"/>
                        <a:gd name="T38" fmla="*/ 38 w 300"/>
                        <a:gd name="T39" fmla="*/ 225 h 300"/>
                        <a:gd name="T40" fmla="*/ 38 w 300"/>
                        <a:gd name="T41" fmla="*/ 300 h 300"/>
                        <a:gd name="T42" fmla="*/ 38 w 300"/>
                        <a:gd name="T43" fmla="*/ 225 h 300"/>
                        <a:gd name="T44" fmla="*/ 38 w 300"/>
                        <a:gd name="T45" fmla="*/ 277 h 300"/>
                        <a:gd name="T46" fmla="*/ 38 w 300"/>
                        <a:gd name="T47" fmla="*/ 247 h 300"/>
                        <a:gd name="T48" fmla="*/ 150 w 300"/>
                        <a:gd name="T49" fmla="*/ 225 h 300"/>
                        <a:gd name="T50" fmla="*/ 150 w 300"/>
                        <a:gd name="T51" fmla="*/ 300 h 300"/>
                        <a:gd name="T52" fmla="*/ 150 w 300"/>
                        <a:gd name="T53" fmla="*/ 225 h 300"/>
                        <a:gd name="T54" fmla="*/ 150 w 300"/>
                        <a:gd name="T55" fmla="*/ 277 h 300"/>
                        <a:gd name="T56" fmla="*/ 150 w 300"/>
                        <a:gd name="T57" fmla="*/ 247 h 300"/>
                        <a:gd name="T58" fmla="*/ 263 w 300"/>
                        <a:gd name="T59" fmla="*/ 225 h 300"/>
                        <a:gd name="T60" fmla="*/ 263 w 300"/>
                        <a:gd name="T61" fmla="*/ 300 h 300"/>
                        <a:gd name="T62" fmla="*/ 263 w 300"/>
                        <a:gd name="T63" fmla="*/ 225 h 300"/>
                        <a:gd name="T64" fmla="*/ 263 w 300"/>
                        <a:gd name="T65" fmla="*/ 277 h 300"/>
                        <a:gd name="T66" fmla="*/ 263 w 300"/>
                        <a:gd name="T67" fmla="*/ 247 h 300"/>
                        <a:gd name="T68" fmla="*/ 162 w 300"/>
                        <a:gd name="T69" fmla="*/ 162 h 300"/>
                        <a:gd name="T70" fmla="*/ 257 w 300"/>
                        <a:gd name="T71" fmla="*/ 174 h 300"/>
                        <a:gd name="T72" fmla="*/ 269 w 300"/>
                        <a:gd name="T73" fmla="*/ 207 h 300"/>
                        <a:gd name="T74" fmla="*/ 162 w 300"/>
                        <a:gd name="T75" fmla="*/ 162 h 300"/>
                        <a:gd name="T76" fmla="*/ 60 w 300"/>
                        <a:gd name="T77" fmla="*/ 166 h 300"/>
                        <a:gd name="T78" fmla="*/ 138 w 300"/>
                        <a:gd name="T79" fmla="*/ 174 h 300"/>
                        <a:gd name="T80" fmla="*/ 65 w 300"/>
                        <a:gd name="T81" fmla="*/ 162 h 300"/>
                        <a:gd name="T82" fmla="*/ 9 w 300"/>
                        <a:gd name="T83" fmla="*/ 105 h 300"/>
                        <a:gd name="T84" fmla="*/ 32 w 300"/>
                        <a:gd name="T85" fmla="*/ 167 h 300"/>
                        <a:gd name="T86" fmla="*/ 44 w 300"/>
                        <a:gd name="T87" fmla="*/ 148 h 300"/>
                        <a:gd name="T88" fmla="*/ 66 w 300"/>
                        <a:gd name="T89" fmla="*/ 105 h 300"/>
                        <a:gd name="T90" fmla="*/ 215 w 300"/>
                        <a:gd name="T91" fmla="*/ 85 h 300"/>
                        <a:gd name="T92" fmla="*/ 231 w 300"/>
                        <a:gd name="T93" fmla="*/ 101 h 300"/>
                        <a:gd name="T94" fmla="*/ 162 w 300"/>
                        <a:gd name="T95" fmla="*/ 149 h 300"/>
                        <a:gd name="T96" fmla="*/ 255 w 300"/>
                        <a:gd name="T97" fmla="*/ 125 h 300"/>
                        <a:gd name="T98" fmla="*/ 215 w 300"/>
                        <a:gd name="T99" fmla="*/ 85 h 300"/>
                        <a:gd name="T100" fmla="*/ 47 w 300"/>
                        <a:gd name="T101" fmla="*/ 153 h 300"/>
                        <a:gd name="T102" fmla="*/ 35 w 300"/>
                        <a:gd name="T103" fmla="*/ 174 h 300"/>
                        <a:gd name="T104" fmla="*/ 44 w 300"/>
                        <a:gd name="T105" fmla="*/ 207 h 300"/>
                        <a:gd name="T106" fmla="*/ 55 w 300"/>
                        <a:gd name="T107" fmla="*/ 162 h 300"/>
                        <a:gd name="T108" fmla="*/ 110 w 300"/>
                        <a:gd name="T109" fmla="*/ 151 h 300"/>
                        <a:gd name="T110" fmla="*/ 138 w 300"/>
                        <a:gd name="T111" fmla="*/ 139 h 300"/>
                        <a:gd name="T112" fmla="*/ 179 w 300"/>
                        <a:gd name="T113" fmla="*/ 105 h 300"/>
                        <a:gd name="T114" fmla="*/ 122 w 300"/>
                        <a:gd name="T115" fmla="*/ 105 h 300"/>
                        <a:gd name="T116" fmla="*/ 144 w 300"/>
                        <a:gd name="T117" fmla="*/ 207 h 300"/>
                        <a:gd name="T118" fmla="*/ 156 w 300"/>
                        <a:gd name="T119" fmla="*/ 10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300">
                          <a:moveTo>
                            <a:pt x="52" y="37"/>
                          </a:moveTo>
                          <a:cubicBezTo>
                            <a:pt x="75" y="60"/>
                            <a:pt x="75" y="60"/>
                            <a:pt x="75" y="60"/>
                          </a:cubicBezTo>
                          <a:cubicBezTo>
                            <a:pt x="60" y="75"/>
                            <a:pt x="60" y="75"/>
                            <a:pt x="60" y="75"/>
                          </a:cubicBezTo>
                          <a:cubicBezTo>
                            <a:pt x="37" y="52"/>
                            <a:pt x="37" y="52"/>
                            <a:pt x="37" y="52"/>
                          </a:cubicBezTo>
                          <a:cubicBezTo>
                            <a:pt x="15" y="75"/>
                            <a:pt x="15" y="75"/>
                            <a:pt x="15" y="75"/>
                          </a:cubicBezTo>
                          <a:cubicBezTo>
                            <a:pt x="0" y="60"/>
                            <a:pt x="0" y="60"/>
                            <a:pt x="0" y="60"/>
                          </a:cubicBezTo>
                          <a:cubicBezTo>
                            <a:pt x="23" y="37"/>
                            <a:pt x="23" y="37"/>
                            <a:pt x="23" y="37"/>
                          </a:cubicBezTo>
                          <a:cubicBezTo>
                            <a:pt x="0" y="15"/>
                            <a:pt x="0" y="15"/>
                            <a:pt x="0" y="15"/>
                          </a:cubicBezTo>
                          <a:cubicBezTo>
                            <a:pt x="15" y="0"/>
                            <a:pt x="15" y="0"/>
                            <a:pt x="15" y="0"/>
                          </a:cubicBezTo>
                          <a:cubicBezTo>
                            <a:pt x="37" y="22"/>
                            <a:pt x="37" y="22"/>
                            <a:pt x="37" y="22"/>
                          </a:cubicBezTo>
                          <a:cubicBezTo>
                            <a:pt x="60" y="0"/>
                            <a:pt x="60" y="0"/>
                            <a:pt x="60" y="0"/>
                          </a:cubicBezTo>
                          <a:cubicBezTo>
                            <a:pt x="75" y="15"/>
                            <a:pt x="75" y="15"/>
                            <a:pt x="75" y="15"/>
                          </a:cubicBezTo>
                          <a:lnTo>
                            <a:pt x="52" y="37"/>
                          </a:lnTo>
                          <a:close/>
                          <a:moveTo>
                            <a:pt x="300" y="15"/>
                          </a:moveTo>
                          <a:cubicBezTo>
                            <a:pt x="285" y="0"/>
                            <a:pt x="285" y="0"/>
                            <a:pt x="285" y="0"/>
                          </a:cubicBezTo>
                          <a:cubicBezTo>
                            <a:pt x="262" y="22"/>
                            <a:pt x="262" y="22"/>
                            <a:pt x="262" y="22"/>
                          </a:cubicBezTo>
                          <a:cubicBezTo>
                            <a:pt x="240" y="0"/>
                            <a:pt x="240" y="0"/>
                            <a:pt x="240" y="0"/>
                          </a:cubicBezTo>
                          <a:cubicBezTo>
                            <a:pt x="225" y="15"/>
                            <a:pt x="225" y="15"/>
                            <a:pt x="225" y="15"/>
                          </a:cubicBezTo>
                          <a:cubicBezTo>
                            <a:pt x="248" y="37"/>
                            <a:pt x="248" y="37"/>
                            <a:pt x="248" y="37"/>
                          </a:cubicBezTo>
                          <a:cubicBezTo>
                            <a:pt x="225" y="60"/>
                            <a:pt x="225" y="60"/>
                            <a:pt x="225" y="60"/>
                          </a:cubicBezTo>
                          <a:cubicBezTo>
                            <a:pt x="240" y="75"/>
                            <a:pt x="240" y="75"/>
                            <a:pt x="240" y="75"/>
                          </a:cubicBezTo>
                          <a:cubicBezTo>
                            <a:pt x="262" y="52"/>
                            <a:pt x="262" y="52"/>
                            <a:pt x="262" y="52"/>
                          </a:cubicBezTo>
                          <a:cubicBezTo>
                            <a:pt x="285" y="75"/>
                            <a:pt x="285" y="75"/>
                            <a:pt x="285" y="75"/>
                          </a:cubicBezTo>
                          <a:cubicBezTo>
                            <a:pt x="300" y="60"/>
                            <a:pt x="300" y="60"/>
                            <a:pt x="300" y="60"/>
                          </a:cubicBezTo>
                          <a:cubicBezTo>
                            <a:pt x="277" y="37"/>
                            <a:pt x="277" y="37"/>
                            <a:pt x="277" y="37"/>
                          </a:cubicBezTo>
                          <a:lnTo>
                            <a:pt x="300" y="15"/>
                          </a:lnTo>
                          <a:close/>
                          <a:moveTo>
                            <a:pt x="188" y="15"/>
                          </a:moveTo>
                          <a:cubicBezTo>
                            <a:pt x="173" y="0"/>
                            <a:pt x="173" y="0"/>
                            <a:pt x="173" y="0"/>
                          </a:cubicBezTo>
                          <a:cubicBezTo>
                            <a:pt x="150" y="22"/>
                            <a:pt x="150" y="22"/>
                            <a:pt x="150" y="22"/>
                          </a:cubicBezTo>
                          <a:cubicBezTo>
                            <a:pt x="128" y="0"/>
                            <a:pt x="128" y="0"/>
                            <a:pt x="128" y="0"/>
                          </a:cubicBezTo>
                          <a:cubicBezTo>
                            <a:pt x="113" y="15"/>
                            <a:pt x="113" y="15"/>
                            <a:pt x="113" y="15"/>
                          </a:cubicBezTo>
                          <a:cubicBezTo>
                            <a:pt x="135" y="37"/>
                            <a:pt x="135" y="37"/>
                            <a:pt x="135" y="37"/>
                          </a:cubicBezTo>
                          <a:cubicBezTo>
                            <a:pt x="113" y="60"/>
                            <a:pt x="113" y="60"/>
                            <a:pt x="113" y="60"/>
                          </a:cubicBezTo>
                          <a:cubicBezTo>
                            <a:pt x="128" y="75"/>
                            <a:pt x="128" y="75"/>
                            <a:pt x="128" y="75"/>
                          </a:cubicBezTo>
                          <a:cubicBezTo>
                            <a:pt x="150" y="52"/>
                            <a:pt x="150" y="52"/>
                            <a:pt x="150" y="52"/>
                          </a:cubicBezTo>
                          <a:cubicBezTo>
                            <a:pt x="173" y="75"/>
                            <a:pt x="173" y="75"/>
                            <a:pt x="173" y="75"/>
                          </a:cubicBezTo>
                          <a:cubicBezTo>
                            <a:pt x="188" y="60"/>
                            <a:pt x="188" y="60"/>
                            <a:pt x="188" y="60"/>
                          </a:cubicBezTo>
                          <a:cubicBezTo>
                            <a:pt x="165" y="37"/>
                            <a:pt x="165" y="37"/>
                            <a:pt x="165" y="37"/>
                          </a:cubicBezTo>
                          <a:lnTo>
                            <a:pt x="188" y="15"/>
                          </a:lnTo>
                          <a:close/>
                          <a:moveTo>
                            <a:pt x="38" y="225"/>
                          </a:moveTo>
                          <a:cubicBezTo>
                            <a:pt x="17" y="225"/>
                            <a:pt x="0" y="242"/>
                            <a:pt x="0" y="262"/>
                          </a:cubicBezTo>
                          <a:cubicBezTo>
                            <a:pt x="0" y="283"/>
                            <a:pt x="17" y="300"/>
                            <a:pt x="38" y="300"/>
                          </a:cubicBezTo>
                          <a:cubicBezTo>
                            <a:pt x="58" y="300"/>
                            <a:pt x="75" y="283"/>
                            <a:pt x="75" y="262"/>
                          </a:cubicBezTo>
                          <a:cubicBezTo>
                            <a:pt x="75" y="242"/>
                            <a:pt x="58" y="225"/>
                            <a:pt x="38" y="225"/>
                          </a:cubicBezTo>
                          <a:close/>
                          <a:moveTo>
                            <a:pt x="53" y="262"/>
                          </a:moveTo>
                          <a:cubicBezTo>
                            <a:pt x="53" y="271"/>
                            <a:pt x="46" y="277"/>
                            <a:pt x="38" y="277"/>
                          </a:cubicBezTo>
                          <a:cubicBezTo>
                            <a:pt x="29" y="277"/>
                            <a:pt x="23" y="271"/>
                            <a:pt x="23" y="262"/>
                          </a:cubicBezTo>
                          <a:cubicBezTo>
                            <a:pt x="23" y="254"/>
                            <a:pt x="29" y="247"/>
                            <a:pt x="38" y="247"/>
                          </a:cubicBezTo>
                          <a:cubicBezTo>
                            <a:pt x="46" y="247"/>
                            <a:pt x="53" y="254"/>
                            <a:pt x="53" y="262"/>
                          </a:cubicBezTo>
                          <a:close/>
                          <a:moveTo>
                            <a:pt x="150" y="225"/>
                          </a:moveTo>
                          <a:cubicBezTo>
                            <a:pt x="129" y="225"/>
                            <a:pt x="113" y="242"/>
                            <a:pt x="113" y="262"/>
                          </a:cubicBezTo>
                          <a:cubicBezTo>
                            <a:pt x="113" y="283"/>
                            <a:pt x="129" y="300"/>
                            <a:pt x="150" y="300"/>
                          </a:cubicBezTo>
                          <a:cubicBezTo>
                            <a:pt x="171" y="300"/>
                            <a:pt x="188" y="283"/>
                            <a:pt x="188" y="262"/>
                          </a:cubicBezTo>
                          <a:cubicBezTo>
                            <a:pt x="188" y="242"/>
                            <a:pt x="171" y="225"/>
                            <a:pt x="150" y="225"/>
                          </a:cubicBezTo>
                          <a:close/>
                          <a:moveTo>
                            <a:pt x="165" y="262"/>
                          </a:moveTo>
                          <a:cubicBezTo>
                            <a:pt x="165" y="271"/>
                            <a:pt x="158" y="277"/>
                            <a:pt x="150" y="277"/>
                          </a:cubicBezTo>
                          <a:cubicBezTo>
                            <a:pt x="142" y="277"/>
                            <a:pt x="135" y="271"/>
                            <a:pt x="135" y="262"/>
                          </a:cubicBezTo>
                          <a:cubicBezTo>
                            <a:pt x="135" y="254"/>
                            <a:pt x="142" y="247"/>
                            <a:pt x="150" y="247"/>
                          </a:cubicBezTo>
                          <a:cubicBezTo>
                            <a:pt x="158" y="247"/>
                            <a:pt x="165" y="254"/>
                            <a:pt x="165" y="262"/>
                          </a:cubicBezTo>
                          <a:close/>
                          <a:moveTo>
                            <a:pt x="263" y="225"/>
                          </a:moveTo>
                          <a:cubicBezTo>
                            <a:pt x="242" y="225"/>
                            <a:pt x="225" y="242"/>
                            <a:pt x="225" y="262"/>
                          </a:cubicBezTo>
                          <a:cubicBezTo>
                            <a:pt x="225" y="283"/>
                            <a:pt x="242" y="300"/>
                            <a:pt x="263" y="300"/>
                          </a:cubicBezTo>
                          <a:cubicBezTo>
                            <a:pt x="283" y="300"/>
                            <a:pt x="300" y="283"/>
                            <a:pt x="300" y="262"/>
                          </a:cubicBezTo>
                          <a:cubicBezTo>
                            <a:pt x="300" y="242"/>
                            <a:pt x="283" y="225"/>
                            <a:pt x="263" y="225"/>
                          </a:cubicBezTo>
                          <a:close/>
                          <a:moveTo>
                            <a:pt x="278" y="262"/>
                          </a:moveTo>
                          <a:cubicBezTo>
                            <a:pt x="278" y="271"/>
                            <a:pt x="271" y="277"/>
                            <a:pt x="263" y="277"/>
                          </a:cubicBezTo>
                          <a:cubicBezTo>
                            <a:pt x="254" y="277"/>
                            <a:pt x="248" y="271"/>
                            <a:pt x="248" y="262"/>
                          </a:cubicBezTo>
                          <a:cubicBezTo>
                            <a:pt x="248" y="254"/>
                            <a:pt x="254" y="247"/>
                            <a:pt x="263" y="247"/>
                          </a:cubicBezTo>
                          <a:cubicBezTo>
                            <a:pt x="271" y="247"/>
                            <a:pt x="278" y="254"/>
                            <a:pt x="278" y="262"/>
                          </a:cubicBezTo>
                          <a:close/>
                          <a:moveTo>
                            <a:pt x="162" y="162"/>
                          </a:moveTo>
                          <a:cubicBezTo>
                            <a:pt x="162" y="174"/>
                            <a:pt x="162" y="174"/>
                            <a:pt x="162" y="174"/>
                          </a:cubicBezTo>
                          <a:cubicBezTo>
                            <a:pt x="257" y="174"/>
                            <a:pt x="257" y="174"/>
                            <a:pt x="257" y="174"/>
                          </a:cubicBezTo>
                          <a:cubicBezTo>
                            <a:pt x="257" y="207"/>
                            <a:pt x="257" y="207"/>
                            <a:pt x="257" y="207"/>
                          </a:cubicBezTo>
                          <a:cubicBezTo>
                            <a:pt x="269" y="207"/>
                            <a:pt x="269" y="207"/>
                            <a:pt x="269" y="207"/>
                          </a:cubicBezTo>
                          <a:cubicBezTo>
                            <a:pt x="269" y="162"/>
                            <a:pt x="269" y="162"/>
                            <a:pt x="269" y="162"/>
                          </a:cubicBezTo>
                          <a:lnTo>
                            <a:pt x="162" y="162"/>
                          </a:lnTo>
                          <a:close/>
                          <a:moveTo>
                            <a:pt x="65" y="162"/>
                          </a:moveTo>
                          <a:cubicBezTo>
                            <a:pt x="63" y="163"/>
                            <a:pt x="62" y="164"/>
                            <a:pt x="60" y="166"/>
                          </a:cubicBezTo>
                          <a:cubicBezTo>
                            <a:pt x="58" y="168"/>
                            <a:pt x="56" y="171"/>
                            <a:pt x="55" y="174"/>
                          </a:cubicBezTo>
                          <a:cubicBezTo>
                            <a:pt x="138" y="174"/>
                            <a:pt x="138" y="174"/>
                            <a:pt x="138" y="174"/>
                          </a:cubicBezTo>
                          <a:cubicBezTo>
                            <a:pt x="138" y="162"/>
                            <a:pt x="138" y="162"/>
                            <a:pt x="138" y="162"/>
                          </a:cubicBezTo>
                          <a:lnTo>
                            <a:pt x="65" y="162"/>
                          </a:lnTo>
                          <a:close/>
                          <a:moveTo>
                            <a:pt x="38" y="76"/>
                          </a:moveTo>
                          <a:cubicBezTo>
                            <a:pt x="9" y="105"/>
                            <a:pt x="9" y="105"/>
                            <a:pt x="9" y="105"/>
                          </a:cubicBezTo>
                          <a:cubicBezTo>
                            <a:pt x="32" y="105"/>
                            <a:pt x="32" y="105"/>
                            <a:pt x="32" y="105"/>
                          </a:cubicBezTo>
                          <a:cubicBezTo>
                            <a:pt x="32" y="167"/>
                            <a:pt x="32" y="167"/>
                            <a:pt x="32" y="167"/>
                          </a:cubicBezTo>
                          <a:cubicBezTo>
                            <a:pt x="34" y="160"/>
                            <a:pt x="38" y="154"/>
                            <a:pt x="43" y="149"/>
                          </a:cubicBezTo>
                          <a:cubicBezTo>
                            <a:pt x="43" y="149"/>
                            <a:pt x="43" y="148"/>
                            <a:pt x="44" y="148"/>
                          </a:cubicBezTo>
                          <a:cubicBezTo>
                            <a:pt x="44" y="105"/>
                            <a:pt x="44" y="105"/>
                            <a:pt x="44" y="105"/>
                          </a:cubicBezTo>
                          <a:cubicBezTo>
                            <a:pt x="66" y="105"/>
                            <a:pt x="66" y="105"/>
                            <a:pt x="66" y="105"/>
                          </a:cubicBezTo>
                          <a:lnTo>
                            <a:pt x="38" y="76"/>
                          </a:lnTo>
                          <a:close/>
                          <a:moveTo>
                            <a:pt x="215" y="85"/>
                          </a:moveTo>
                          <a:cubicBezTo>
                            <a:pt x="235" y="105"/>
                            <a:pt x="235" y="105"/>
                            <a:pt x="235" y="105"/>
                          </a:cubicBezTo>
                          <a:cubicBezTo>
                            <a:pt x="231" y="101"/>
                            <a:pt x="231" y="101"/>
                            <a:pt x="231" y="101"/>
                          </a:cubicBezTo>
                          <a:cubicBezTo>
                            <a:pt x="208" y="123"/>
                            <a:pt x="185" y="133"/>
                            <a:pt x="162" y="137"/>
                          </a:cubicBezTo>
                          <a:cubicBezTo>
                            <a:pt x="162" y="149"/>
                            <a:pt x="162" y="149"/>
                            <a:pt x="162" y="149"/>
                          </a:cubicBezTo>
                          <a:cubicBezTo>
                            <a:pt x="187" y="145"/>
                            <a:pt x="214" y="135"/>
                            <a:pt x="239" y="109"/>
                          </a:cubicBezTo>
                          <a:cubicBezTo>
                            <a:pt x="255" y="125"/>
                            <a:pt x="255" y="125"/>
                            <a:pt x="255" y="125"/>
                          </a:cubicBezTo>
                          <a:cubicBezTo>
                            <a:pt x="255" y="85"/>
                            <a:pt x="255" y="85"/>
                            <a:pt x="255" y="85"/>
                          </a:cubicBezTo>
                          <a:lnTo>
                            <a:pt x="215" y="85"/>
                          </a:lnTo>
                          <a:close/>
                          <a:moveTo>
                            <a:pt x="111" y="139"/>
                          </a:moveTo>
                          <a:cubicBezTo>
                            <a:pt x="85" y="139"/>
                            <a:pt x="62" y="138"/>
                            <a:pt x="47" y="153"/>
                          </a:cubicBezTo>
                          <a:cubicBezTo>
                            <a:pt x="46" y="154"/>
                            <a:pt x="45" y="156"/>
                            <a:pt x="44" y="157"/>
                          </a:cubicBezTo>
                          <a:cubicBezTo>
                            <a:pt x="40" y="162"/>
                            <a:pt x="37" y="167"/>
                            <a:pt x="35" y="174"/>
                          </a:cubicBezTo>
                          <a:cubicBezTo>
                            <a:pt x="33" y="183"/>
                            <a:pt x="32" y="194"/>
                            <a:pt x="32" y="207"/>
                          </a:cubicBezTo>
                          <a:cubicBezTo>
                            <a:pt x="44" y="207"/>
                            <a:pt x="44" y="207"/>
                            <a:pt x="44" y="207"/>
                          </a:cubicBezTo>
                          <a:cubicBezTo>
                            <a:pt x="44" y="193"/>
                            <a:pt x="45" y="182"/>
                            <a:pt x="48" y="174"/>
                          </a:cubicBezTo>
                          <a:cubicBezTo>
                            <a:pt x="50" y="169"/>
                            <a:pt x="52" y="165"/>
                            <a:pt x="55" y="162"/>
                          </a:cubicBezTo>
                          <a:cubicBezTo>
                            <a:pt x="56" y="162"/>
                            <a:pt x="56" y="162"/>
                            <a:pt x="56" y="161"/>
                          </a:cubicBezTo>
                          <a:cubicBezTo>
                            <a:pt x="67" y="150"/>
                            <a:pt x="86" y="151"/>
                            <a:pt x="110" y="151"/>
                          </a:cubicBezTo>
                          <a:cubicBezTo>
                            <a:pt x="119" y="151"/>
                            <a:pt x="128" y="152"/>
                            <a:pt x="138" y="151"/>
                          </a:cubicBezTo>
                          <a:cubicBezTo>
                            <a:pt x="138" y="139"/>
                            <a:pt x="138" y="139"/>
                            <a:pt x="138" y="139"/>
                          </a:cubicBezTo>
                          <a:cubicBezTo>
                            <a:pt x="128" y="140"/>
                            <a:pt x="119" y="139"/>
                            <a:pt x="111" y="139"/>
                          </a:cubicBezTo>
                          <a:close/>
                          <a:moveTo>
                            <a:pt x="179" y="105"/>
                          </a:moveTo>
                          <a:cubicBezTo>
                            <a:pt x="150" y="76"/>
                            <a:pt x="150" y="76"/>
                            <a:pt x="150" y="76"/>
                          </a:cubicBezTo>
                          <a:cubicBezTo>
                            <a:pt x="122" y="105"/>
                            <a:pt x="122" y="105"/>
                            <a:pt x="122" y="105"/>
                          </a:cubicBezTo>
                          <a:cubicBezTo>
                            <a:pt x="144" y="105"/>
                            <a:pt x="144" y="105"/>
                            <a:pt x="144" y="105"/>
                          </a:cubicBezTo>
                          <a:cubicBezTo>
                            <a:pt x="144" y="207"/>
                            <a:pt x="144" y="207"/>
                            <a:pt x="144" y="207"/>
                          </a:cubicBezTo>
                          <a:cubicBezTo>
                            <a:pt x="156" y="207"/>
                            <a:pt x="156" y="207"/>
                            <a:pt x="156" y="207"/>
                          </a:cubicBezTo>
                          <a:cubicBezTo>
                            <a:pt x="156" y="105"/>
                            <a:pt x="156" y="105"/>
                            <a:pt x="156" y="105"/>
                          </a:cubicBezTo>
                          <a:lnTo>
                            <a:pt x="179" y="105"/>
                          </a:lnTo>
                          <a:close/>
                        </a:path>
                      </a:pathLst>
                    </a:custGeom>
                    <a:solidFill>
                      <a:schemeClr val="accent3"/>
                    </a:solidFill>
                    <a:ln>
                      <a:noFill/>
                    </a:ln>
                    <a:extLst/>
                  </p:spPr>
                  <p:txBody>
                    <a:bodyPr vert="horz" wrap="square" lIns="98755" tIns="49380" rIns="98755" bIns="49380" numCol="1" anchor="ctr" anchorCtr="0" compatLnSpc="1">
                      <a:prstTxWarp prst="textNoShape">
                        <a:avLst/>
                      </a:prstTxWarp>
                    </a:bodyPr>
                    <a:lstStyle/>
                    <a:p>
                      <a:pPr defTabSz="1094777"/>
                      <a:endParaRPr lang="en-US" sz="1568">
                        <a:solidFill>
                          <a:srgbClr val="FFFFFF"/>
                        </a:solidFill>
                      </a:endParaRPr>
                    </a:p>
                  </p:txBody>
                </p:sp>
              </p:grpSp>
              <p:grpSp>
                <p:nvGrpSpPr>
                  <p:cNvPr id="70" name="Group 69"/>
                  <p:cNvGrpSpPr/>
                  <p:nvPr/>
                </p:nvGrpSpPr>
                <p:grpSpPr>
                  <a:xfrm>
                    <a:off x="7622773" y="1720102"/>
                    <a:ext cx="2367120" cy="641359"/>
                    <a:chOff x="7622773" y="1720102"/>
                    <a:chExt cx="2367120" cy="641359"/>
                  </a:xfrm>
                </p:grpSpPr>
                <p:sp>
                  <p:nvSpPr>
                    <p:cNvPr id="282" name="Rectangle 281"/>
                    <p:cNvSpPr/>
                    <p:nvPr/>
                  </p:nvSpPr>
                  <p:spPr bwMode="auto">
                    <a:xfrm>
                      <a:off x="7622773" y="1720102"/>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Caching</a:t>
                      </a:r>
                    </a:p>
                  </p:txBody>
                </p:sp>
                <p:sp>
                  <p:nvSpPr>
                    <p:cNvPr id="283" name="Block Arc 6"/>
                    <p:cNvSpPr/>
                    <p:nvPr/>
                  </p:nvSpPr>
                  <p:spPr>
                    <a:xfrm>
                      <a:off x="9397787" y="1822344"/>
                      <a:ext cx="436875" cy="436875"/>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844"/>
                      <a:endParaRPr lang="en-US" sz="1176">
                        <a:solidFill>
                          <a:srgbClr val="FFFFFF"/>
                        </a:solidFill>
                      </a:endParaRPr>
                    </a:p>
                  </p:txBody>
                </p:sp>
              </p:grpSp>
              <p:grpSp>
                <p:nvGrpSpPr>
                  <p:cNvPr id="69" name="Group 68"/>
                  <p:cNvGrpSpPr/>
                  <p:nvPr/>
                </p:nvGrpSpPr>
                <p:grpSpPr>
                  <a:xfrm>
                    <a:off x="7622773" y="2396581"/>
                    <a:ext cx="2367120" cy="641359"/>
                    <a:chOff x="7622773" y="2396581"/>
                    <a:chExt cx="2367120" cy="641359"/>
                  </a:xfrm>
                </p:grpSpPr>
                <p:sp>
                  <p:nvSpPr>
                    <p:cNvPr id="285" name="Rectangle 284"/>
                    <p:cNvSpPr/>
                    <p:nvPr/>
                  </p:nvSpPr>
                  <p:spPr bwMode="auto">
                    <a:xfrm>
                      <a:off x="7622773" y="2396581"/>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Identity</a:t>
                      </a:r>
                    </a:p>
                  </p:txBody>
                </p:sp>
                <p:sp>
                  <p:nvSpPr>
                    <p:cNvPr id="286" name="Rounded Rectangle 27"/>
                    <p:cNvSpPr/>
                    <p:nvPr/>
                  </p:nvSpPr>
                  <p:spPr>
                    <a:xfrm>
                      <a:off x="9514340" y="2490087"/>
                      <a:ext cx="288178" cy="454347"/>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4821" tIns="582676" rIns="89642" bIns="89642" numCol="1" spcCol="0" rtlCol="0" fromWordArt="0" anchor="b" anchorCtr="0" forceAA="0" compatLnSpc="1">
                      <a:prstTxWarp prst="textNoShape">
                        <a:avLst/>
                      </a:prstTxWarp>
                      <a:noAutofit/>
                    </a:bodyPr>
                    <a:lstStyle/>
                    <a:p>
                      <a:pPr defTabSz="913844"/>
                      <a:r>
                        <a:rPr lang="en-US" sz="490" dirty="0">
                          <a:solidFill>
                            <a:srgbClr val="FFFFFF"/>
                          </a:solidFill>
                        </a:rPr>
                        <a:t>bob</a:t>
                      </a:r>
                    </a:p>
                  </p:txBody>
                </p:sp>
              </p:grpSp>
              <p:grpSp>
                <p:nvGrpSpPr>
                  <p:cNvPr id="68" name="Group 67"/>
                  <p:cNvGrpSpPr/>
                  <p:nvPr/>
                </p:nvGrpSpPr>
                <p:grpSpPr>
                  <a:xfrm>
                    <a:off x="7622773" y="3073060"/>
                    <a:ext cx="2367120" cy="641359"/>
                    <a:chOff x="7622773" y="3073060"/>
                    <a:chExt cx="2367120" cy="641359"/>
                  </a:xfrm>
                </p:grpSpPr>
                <p:sp>
                  <p:nvSpPr>
                    <p:cNvPr id="288" name="Rectangle 287"/>
                    <p:cNvSpPr/>
                    <p:nvPr/>
                  </p:nvSpPr>
                  <p:spPr bwMode="auto">
                    <a:xfrm>
                      <a:off x="7622773" y="3073060"/>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Service </a:t>
                      </a:r>
                      <a:r>
                        <a:rPr lang="en-US" sz="1568" dirty="0">
                          <a:solidFill>
                            <a:srgbClr val="68217A"/>
                          </a:solidFill>
                        </a:rPr>
                        <a:t>Bus</a:t>
                      </a:r>
                      <a:endParaRPr lang="en-US" sz="1568" dirty="0">
                        <a:solidFill>
                          <a:srgbClr val="68217A"/>
                        </a:solidFill>
                      </a:endParaRPr>
                    </a:p>
                  </p:txBody>
                </p:sp>
                <p:sp>
                  <p:nvSpPr>
                    <p:cNvPr id="289" name="Oval 41"/>
                    <p:cNvSpPr/>
                    <p:nvPr/>
                  </p:nvSpPr>
                  <p:spPr>
                    <a:xfrm>
                      <a:off x="9406590" y="3167088"/>
                      <a:ext cx="452478" cy="453305"/>
                    </a:xfrm>
                    <a:custGeom>
                      <a:avLst/>
                      <a:gdLst/>
                      <a:ahLst/>
                      <a:cxnLst/>
                      <a:rect l="l" t="t" r="r" b="b"/>
                      <a:pathLst>
                        <a:path w="898688" h="900330">
                          <a:moveTo>
                            <a:pt x="375966" y="524364"/>
                          </a:moveTo>
                          <a:lnTo>
                            <a:pt x="160770" y="527663"/>
                          </a:lnTo>
                          <a:lnTo>
                            <a:pt x="200922" y="567816"/>
                          </a:lnTo>
                          <a:lnTo>
                            <a:pt x="40932" y="727806"/>
                          </a:lnTo>
                          <a:lnTo>
                            <a:pt x="172525" y="859398"/>
                          </a:lnTo>
                          <a:lnTo>
                            <a:pt x="332515" y="699408"/>
                          </a:lnTo>
                          <a:lnTo>
                            <a:pt x="372667" y="739561"/>
                          </a:lnTo>
                          <a:close/>
                          <a:moveTo>
                            <a:pt x="702980" y="303403"/>
                          </a:moveTo>
                          <a:lnTo>
                            <a:pt x="702980" y="360187"/>
                          </a:lnTo>
                          <a:lnTo>
                            <a:pt x="476720" y="360187"/>
                          </a:lnTo>
                          <a:lnTo>
                            <a:pt x="476720" y="546287"/>
                          </a:lnTo>
                          <a:lnTo>
                            <a:pt x="702980" y="546287"/>
                          </a:lnTo>
                          <a:lnTo>
                            <a:pt x="702980" y="603071"/>
                          </a:lnTo>
                          <a:lnTo>
                            <a:pt x="857480" y="453237"/>
                          </a:lnTo>
                          <a:close/>
                          <a:moveTo>
                            <a:pt x="448820" y="219516"/>
                          </a:moveTo>
                          <a:cubicBezTo>
                            <a:pt x="532604" y="219516"/>
                            <a:pt x="606091" y="263602"/>
                            <a:pt x="646772" y="330201"/>
                          </a:cubicBezTo>
                          <a:lnTo>
                            <a:pt x="673087" y="330201"/>
                          </a:lnTo>
                          <a:lnTo>
                            <a:pt x="673087" y="234448"/>
                          </a:lnTo>
                          <a:lnTo>
                            <a:pt x="898688" y="453237"/>
                          </a:lnTo>
                          <a:lnTo>
                            <a:pt x="673087" y="672026"/>
                          </a:lnTo>
                          <a:lnTo>
                            <a:pt x="673087" y="576273"/>
                          </a:lnTo>
                          <a:lnTo>
                            <a:pt x="646772" y="576273"/>
                          </a:lnTo>
                          <a:cubicBezTo>
                            <a:pt x="606091" y="642873"/>
                            <a:pt x="532604" y="686958"/>
                            <a:pt x="448820" y="686958"/>
                          </a:cubicBezTo>
                          <a:lnTo>
                            <a:pt x="402239" y="682262"/>
                          </a:lnTo>
                          <a:lnTo>
                            <a:pt x="402830" y="643675"/>
                          </a:lnTo>
                          <a:cubicBezTo>
                            <a:pt x="417480" y="647867"/>
                            <a:pt x="432928" y="649791"/>
                            <a:pt x="448821" y="649791"/>
                          </a:cubicBezTo>
                          <a:cubicBezTo>
                            <a:pt x="509398" y="649791"/>
                            <a:pt x="563510" y="621837"/>
                            <a:pt x="597076" y="576273"/>
                          </a:cubicBezTo>
                          <a:lnTo>
                            <a:pt x="448819" y="576273"/>
                          </a:lnTo>
                          <a:lnTo>
                            <a:pt x="448819" y="330201"/>
                          </a:lnTo>
                          <a:lnTo>
                            <a:pt x="597075" y="330201"/>
                          </a:lnTo>
                          <a:cubicBezTo>
                            <a:pt x="563509" y="284638"/>
                            <a:pt x="509397" y="256684"/>
                            <a:pt x="448821" y="256684"/>
                          </a:cubicBezTo>
                          <a:cubicBezTo>
                            <a:pt x="432962" y="256684"/>
                            <a:pt x="417546" y="258600"/>
                            <a:pt x="402924" y="262770"/>
                          </a:cubicBezTo>
                          <a:lnTo>
                            <a:pt x="402333" y="224202"/>
                          </a:lnTo>
                          <a:cubicBezTo>
                            <a:pt x="417348" y="221108"/>
                            <a:pt x="432898" y="219516"/>
                            <a:pt x="448820" y="219516"/>
                          </a:cubicBezTo>
                          <a:close/>
                          <a:moveTo>
                            <a:pt x="172525" y="40932"/>
                          </a:moveTo>
                          <a:lnTo>
                            <a:pt x="40932" y="172524"/>
                          </a:lnTo>
                          <a:lnTo>
                            <a:pt x="200922" y="332514"/>
                          </a:lnTo>
                          <a:lnTo>
                            <a:pt x="160770" y="372667"/>
                          </a:lnTo>
                          <a:lnTo>
                            <a:pt x="375966" y="375966"/>
                          </a:lnTo>
                          <a:lnTo>
                            <a:pt x="372667" y="160769"/>
                          </a:lnTo>
                          <a:lnTo>
                            <a:pt x="332515" y="200922"/>
                          </a:lnTo>
                          <a:close/>
                          <a:moveTo>
                            <a:pt x="173999" y="0"/>
                          </a:moveTo>
                          <a:lnTo>
                            <a:pt x="332580" y="158581"/>
                          </a:lnTo>
                          <a:lnTo>
                            <a:pt x="400288" y="90873"/>
                          </a:lnTo>
                          <a:lnTo>
                            <a:pt x="405105" y="405105"/>
                          </a:lnTo>
                          <a:lnTo>
                            <a:pt x="261463" y="402903"/>
                          </a:lnTo>
                          <a:cubicBezTo>
                            <a:pt x="256470" y="418829"/>
                            <a:pt x="254213" y="435767"/>
                            <a:pt x="254213" y="453238"/>
                          </a:cubicBezTo>
                          <a:cubicBezTo>
                            <a:pt x="254213" y="468475"/>
                            <a:pt x="255930" y="483308"/>
                            <a:pt x="259583" y="497456"/>
                          </a:cubicBezTo>
                          <a:lnTo>
                            <a:pt x="243255" y="497707"/>
                          </a:lnTo>
                          <a:lnTo>
                            <a:pt x="405105" y="495225"/>
                          </a:lnTo>
                          <a:lnTo>
                            <a:pt x="400288" y="809457"/>
                          </a:lnTo>
                          <a:lnTo>
                            <a:pt x="332580" y="741749"/>
                          </a:lnTo>
                          <a:lnTo>
                            <a:pt x="173999" y="900330"/>
                          </a:lnTo>
                          <a:lnTo>
                            <a:pt x="0" y="726331"/>
                          </a:lnTo>
                          <a:lnTo>
                            <a:pt x="158581" y="567750"/>
                          </a:lnTo>
                          <a:lnTo>
                            <a:pt x="90873" y="500043"/>
                          </a:lnTo>
                          <a:lnTo>
                            <a:pt x="219619" y="498069"/>
                          </a:lnTo>
                          <a:cubicBezTo>
                            <a:pt x="216579" y="483589"/>
                            <a:pt x="215099" y="468586"/>
                            <a:pt x="215099" y="453237"/>
                          </a:cubicBezTo>
                          <a:lnTo>
                            <a:pt x="221043" y="402283"/>
                          </a:lnTo>
                          <a:lnTo>
                            <a:pt x="90873" y="400288"/>
                          </a:lnTo>
                          <a:lnTo>
                            <a:pt x="158581" y="332580"/>
                          </a:lnTo>
                          <a:lnTo>
                            <a:pt x="0" y="173999"/>
                          </a:lnTo>
                          <a:close/>
                        </a:path>
                      </a:pathLst>
                    </a:cu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a:endParaRPr lang="en-US" sz="1765">
                        <a:solidFill>
                          <a:srgbClr val="FFFFFF">
                            <a:lumMod val="50000"/>
                          </a:srgbClr>
                        </a:solidFill>
                      </a:endParaRPr>
                    </a:p>
                  </p:txBody>
                </p:sp>
              </p:grpSp>
              <p:grpSp>
                <p:nvGrpSpPr>
                  <p:cNvPr id="317" name="Group 316"/>
                  <p:cNvGrpSpPr/>
                  <p:nvPr/>
                </p:nvGrpSpPr>
                <p:grpSpPr>
                  <a:xfrm>
                    <a:off x="7622773" y="5102497"/>
                    <a:ext cx="2367120" cy="641359"/>
                    <a:chOff x="7622773" y="5102497"/>
                    <a:chExt cx="2367120" cy="641359"/>
                  </a:xfrm>
                </p:grpSpPr>
                <p:sp>
                  <p:nvSpPr>
                    <p:cNvPr id="273" name="Rectangle 272"/>
                    <p:cNvSpPr/>
                    <p:nvPr/>
                  </p:nvSpPr>
                  <p:spPr bwMode="auto">
                    <a:xfrm>
                      <a:off x="7622773" y="5102497"/>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Notification </a:t>
                      </a:r>
                      <a:br>
                        <a:rPr lang="en-US" sz="1568" dirty="0">
                          <a:solidFill>
                            <a:srgbClr val="68217A"/>
                          </a:solidFill>
                        </a:rPr>
                      </a:br>
                      <a:r>
                        <a:rPr lang="en-US" sz="1568" dirty="0">
                          <a:solidFill>
                            <a:srgbClr val="68217A"/>
                          </a:solidFill>
                        </a:rPr>
                        <a:t>Hubs</a:t>
                      </a:r>
                      <a:endParaRPr lang="en-US" sz="1568" dirty="0">
                        <a:solidFill>
                          <a:srgbClr val="68217A"/>
                        </a:solidFill>
                      </a:endParaRPr>
                    </a:p>
                  </p:txBody>
                </p:sp>
                <p:grpSp>
                  <p:nvGrpSpPr>
                    <p:cNvPr id="306" name="Group 305"/>
                    <p:cNvGrpSpPr/>
                    <p:nvPr/>
                  </p:nvGrpSpPr>
                  <p:grpSpPr>
                    <a:xfrm>
                      <a:off x="9389377" y="5230480"/>
                      <a:ext cx="460401" cy="413994"/>
                      <a:chOff x="1862058" y="3134421"/>
                      <a:chExt cx="425130" cy="382279"/>
                    </a:xfrm>
                    <a:solidFill>
                      <a:schemeClr val="accent3"/>
                    </a:solidFill>
                  </p:grpSpPr>
                  <p:sp>
                    <p:nvSpPr>
                      <p:cNvPr id="307" name="Freeform 23"/>
                      <p:cNvSpPr>
                        <a:spLocks noEditPoints="1"/>
                      </p:cNvSpPr>
                      <p:nvPr/>
                    </p:nvSpPr>
                    <p:spPr bwMode="black">
                      <a:xfrm>
                        <a:off x="1862058" y="3134421"/>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87" tIns="40344" rIns="80687" bIns="40344" numCol="1" anchor="t" anchorCtr="0" compatLnSpc="1">
                        <a:prstTxWarp prst="textNoShape">
                          <a:avLst/>
                        </a:prstTxWarp>
                      </a:bodyPr>
                      <a:lstStyle/>
                      <a:p>
                        <a:pPr defTabSz="913844"/>
                        <a:endParaRPr lang="en-US" sz="1568">
                          <a:solidFill>
                            <a:srgbClr val="000000"/>
                          </a:solidFill>
                        </a:endParaRPr>
                      </a:p>
                    </p:txBody>
                  </p:sp>
                  <p:sp>
                    <p:nvSpPr>
                      <p:cNvPr id="308" name="Freeform 23"/>
                      <p:cNvSpPr>
                        <a:spLocks noEditPoints="1"/>
                      </p:cNvSpPr>
                      <p:nvPr/>
                    </p:nvSpPr>
                    <p:spPr bwMode="black">
                      <a:xfrm>
                        <a:off x="2080201" y="3134421"/>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87" tIns="40344" rIns="80687" bIns="40344" numCol="1" anchor="t" anchorCtr="0" compatLnSpc="1">
                        <a:prstTxWarp prst="textNoShape">
                          <a:avLst/>
                        </a:prstTxWarp>
                      </a:bodyPr>
                      <a:lstStyle/>
                      <a:p>
                        <a:pPr defTabSz="913844"/>
                        <a:endParaRPr lang="en-US" sz="1568">
                          <a:solidFill>
                            <a:srgbClr val="000000"/>
                          </a:solidFill>
                        </a:endParaRPr>
                      </a:p>
                    </p:txBody>
                  </p:sp>
                  <p:sp>
                    <p:nvSpPr>
                      <p:cNvPr id="309" name="Freeform 23"/>
                      <p:cNvSpPr>
                        <a:spLocks noEditPoints="1"/>
                      </p:cNvSpPr>
                      <p:nvPr/>
                    </p:nvSpPr>
                    <p:spPr bwMode="black">
                      <a:xfrm>
                        <a:off x="1971130" y="3309768"/>
                        <a:ext cx="206987" cy="206932"/>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87" tIns="40344" rIns="80687" bIns="40344" numCol="1" anchor="t" anchorCtr="0" compatLnSpc="1">
                        <a:prstTxWarp prst="textNoShape">
                          <a:avLst/>
                        </a:prstTxWarp>
                      </a:bodyPr>
                      <a:lstStyle/>
                      <a:p>
                        <a:pPr defTabSz="913844"/>
                        <a:endParaRPr lang="en-US" sz="1568">
                          <a:solidFill>
                            <a:srgbClr val="000000"/>
                          </a:solidFill>
                        </a:endParaRPr>
                      </a:p>
                    </p:txBody>
                  </p:sp>
                </p:grpSp>
              </p:grpSp>
              <p:grpSp>
                <p:nvGrpSpPr>
                  <p:cNvPr id="319" name="Group 318"/>
                  <p:cNvGrpSpPr/>
                  <p:nvPr/>
                </p:nvGrpSpPr>
                <p:grpSpPr>
                  <a:xfrm>
                    <a:off x="7622773" y="3749539"/>
                    <a:ext cx="2367120" cy="641359"/>
                    <a:chOff x="7622773" y="3749539"/>
                    <a:chExt cx="2367120" cy="641359"/>
                  </a:xfrm>
                </p:grpSpPr>
                <p:sp>
                  <p:nvSpPr>
                    <p:cNvPr id="270" name="Rectangle 269"/>
                    <p:cNvSpPr/>
                    <p:nvPr/>
                  </p:nvSpPr>
                  <p:spPr bwMode="auto">
                    <a:xfrm>
                      <a:off x="7622773" y="3749539"/>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Media</a:t>
                      </a:r>
                    </a:p>
                  </p:txBody>
                </p:sp>
                <p:sp>
                  <p:nvSpPr>
                    <p:cNvPr id="313" name="Freeform 312"/>
                    <p:cNvSpPr>
                      <a:spLocks noEditPoints="1"/>
                    </p:cNvSpPr>
                    <p:nvPr/>
                  </p:nvSpPr>
                  <p:spPr bwMode="black">
                    <a:xfrm flipH="1">
                      <a:off x="9405387" y="3898470"/>
                      <a:ext cx="397131" cy="397131"/>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3"/>
                    </a:solidFill>
                    <a:ln>
                      <a:noFill/>
                    </a:ln>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5" dirty="0">
                        <a:solidFill>
                          <a:srgbClr val="000000"/>
                        </a:solidFill>
                      </a:endParaRPr>
                    </a:p>
                  </p:txBody>
                </p:sp>
              </p:grpSp>
              <p:grpSp>
                <p:nvGrpSpPr>
                  <p:cNvPr id="318" name="Group 317"/>
                  <p:cNvGrpSpPr/>
                  <p:nvPr/>
                </p:nvGrpSpPr>
                <p:grpSpPr>
                  <a:xfrm>
                    <a:off x="7622773" y="4426018"/>
                    <a:ext cx="2367120" cy="641359"/>
                    <a:chOff x="7622773" y="4426018"/>
                    <a:chExt cx="2367120" cy="641359"/>
                  </a:xfrm>
                </p:grpSpPr>
                <p:sp>
                  <p:nvSpPr>
                    <p:cNvPr id="276" name="Rectangle 275"/>
                    <p:cNvSpPr/>
                    <p:nvPr/>
                  </p:nvSpPr>
                  <p:spPr bwMode="auto">
                    <a:xfrm>
                      <a:off x="7622773" y="4426018"/>
                      <a:ext cx="2367120" cy="64135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8" tIns="89642" rIns="91428" bIns="45713" numCol="1" rtlCol="0" anchor="ctr" anchorCtr="0" compatLnSpc="1">
                      <a:prstTxWarp prst="textNoShape">
                        <a:avLst/>
                      </a:prstTxWarp>
                    </a:bodyPr>
                    <a:lstStyle/>
                    <a:p>
                      <a:pPr defTabSz="913419" fontAlgn="base">
                        <a:spcBef>
                          <a:spcPct val="0"/>
                        </a:spcBef>
                        <a:spcAft>
                          <a:spcPct val="0"/>
                        </a:spcAft>
                      </a:pPr>
                      <a:r>
                        <a:rPr lang="en-US" sz="1568" dirty="0">
                          <a:solidFill>
                            <a:srgbClr val="68217A"/>
                          </a:solidFill>
                        </a:rPr>
                        <a:t>Recovery</a:t>
                      </a:r>
                    </a:p>
                  </p:txBody>
                </p:sp>
                <p:sp>
                  <p:nvSpPr>
                    <p:cNvPr id="314" name="Freeform 313"/>
                    <p:cNvSpPr/>
                    <p:nvPr/>
                  </p:nvSpPr>
                  <p:spPr bwMode="auto">
                    <a:xfrm>
                      <a:off x="9317159" y="4499300"/>
                      <a:ext cx="564085" cy="395743"/>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313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grpSp>
          <p:cxnSp>
            <p:nvCxnSpPr>
              <p:cNvPr id="290" name="Straight Connector 289"/>
              <p:cNvCxnSpPr/>
              <p:nvPr/>
            </p:nvCxnSpPr>
            <p:spPr>
              <a:xfrm flipV="1">
                <a:off x="7689596" y="2379021"/>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p:cNvCxnSpPr/>
              <p:nvPr/>
            </p:nvCxnSpPr>
            <p:spPr>
              <a:xfrm flipV="1">
                <a:off x="7689596" y="3055500"/>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flipV="1">
                <a:off x="7689596" y="3731979"/>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flipV="1">
                <a:off x="7689596" y="4408458"/>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flipV="1">
                <a:off x="7689596" y="5084937"/>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p:nvPr/>
            </p:nvCxnSpPr>
            <p:spPr>
              <a:xfrm flipV="1">
                <a:off x="7689596" y="5761415"/>
                <a:ext cx="2220547" cy="1"/>
              </a:xfrm>
              <a:prstGeom prst="line">
                <a:avLst/>
              </a:prstGeom>
              <a:ln>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324" name="Group 323"/>
          <p:cNvGrpSpPr/>
          <p:nvPr/>
        </p:nvGrpSpPr>
        <p:grpSpPr>
          <a:xfrm>
            <a:off x="9858077" y="1191609"/>
            <a:ext cx="1766100" cy="5188124"/>
            <a:chOff x="10055751" y="1215006"/>
            <a:chExt cx="1801514" cy="5292157"/>
          </a:xfrm>
        </p:grpSpPr>
        <p:sp>
          <p:nvSpPr>
            <p:cNvPr id="83" name="Freeform 18"/>
            <p:cNvSpPr>
              <a:spLocks noEditPoints="1"/>
            </p:cNvSpPr>
            <p:nvPr/>
          </p:nvSpPr>
          <p:spPr bwMode="auto">
            <a:xfrm>
              <a:off x="10055751" y="1215006"/>
              <a:ext cx="1801514" cy="5292157"/>
            </a:xfrm>
            <a:prstGeom prst="rect">
              <a:avLst/>
            </a:prstGeom>
            <a:solidFill>
              <a:schemeClr val="accent4"/>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r>
                <a:rPr lang="en-US" sz="2353" dirty="0">
                  <a:solidFill>
                    <a:srgbClr val="FFFFFF"/>
                  </a:solidFill>
                  <a:latin typeface="Segoe UI Light"/>
                  <a:ea typeface="Segoe UI" pitchFamily="34" charset="0"/>
                  <a:cs typeface="Segoe UI Semibold" panose="020B0702040204020203" pitchFamily="34" charset="0"/>
                </a:rPr>
                <a:t>Frameworks</a:t>
              </a:r>
            </a:p>
          </p:txBody>
        </p:sp>
        <p:grpSp>
          <p:nvGrpSpPr>
            <p:cNvPr id="321" name="Group 320"/>
            <p:cNvGrpSpPr/>
            <p:nvPr/>
          </p:nvGrpSpPr>
          <p:grpSpPr>
            <a:xfrm>
              <a:off x="10055751" y="1657350"/>
              <a:ext cx="1801514" cy="4759482"/>
              <a:chOff x="10055751" y="1657350"/>
              <a:chExt cx="1801514" cy="4759482"/>
            </a:xfrm>
          </p:grpSpPr>
          <p:sp>
            <p:nvSpPr>
              <p:cNvPr id="148" name="Freeform 18"/>
              <p:cNvSpPr>
                <a:spLocks noEditPoints="1"/>
              </p:cNvSpPr>
              <p:nvPr/>
            </p:nvSpPr>
            <p:spPr bwMode="auto">
              <a:xfrm>
                <a:off x="10055751" y="1657350"/>
                <a:ext cx="1801514" cy="4759482"/>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592" tIns="44796" rIns="89592" bIns="44796"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US" sz="2353" dirty="0">
                  <a:solidFill>
                    <a:srgbClr val="FFFFFF"/>
                  </a:solidFill>
                  <a:latin typeface="Segoe UI Light"/>
                  <a:ea typeface="Segoe UI" pitchFamily="34" charset="0"/>
                  <a:cs typeface="Segoe UI Semibold" panose="020B0702040204020203" pitchFamily="34" charset="0"/>
                </a:endParaRPr>
              </a:p>
            </p:txBody>
          </p:sp>
          <p:grpSp>
            <p:nvGrpSpPr>
              <p:cNvPr id="320" name="Group 319"/>
              <p:cNvGrpSpPr/>
              <p:nvPr/>
            </p:nvGrpSpPr>
            <p:grpSpPr>
              <a:xfrm>
                <a:off x="10090777" y="1894915"/>
                <a:ext cx="1731463" cy="4323595"/>
                <a:chOff x="10090777" y="1894915"/>
                <a:chExt cx="1731463" cy="4323595"/>
              </a:xfrm>
            </p:grpSpPr>
            <p:pic>
              <p:nvPicPr>
                <p:cNvPr id="301" name="Picture 4" descr="http://www.jbase.com/new/products/images/java.png"/>
                <p:cNvPicPr>
                  <a:picLocks noChangeAspect="1" noChangeArrowheads="1"/>
                </p:cNvPicPr>
                <p:nvPr/>
              </p:nvPicPr>
              <p:blipFill>
                <a:blip r:embed="rId4" cstate="print"/>
                <a:stretch>
                  <a:fillRect/>
                </a:stretch>
              </p:blipFill>
              <p:spPr bwMode="auto">
                <a:xfrm>
                  <a:off x="10767007" y="2742612"/>
                  <a:ext cx="379003" cy="703863"/>
                </a:xfrm>
                <a:prstGeom prst="rect">
                  <a:avLst/>
                </a:prstGeom>
                <a:noFill/>
                <a:ln>
                  <a:noFill/>
                </a:ln>
              </p:spPr>
            </p:pic>
            <p:pic>
              <p:nvPicPr>
                <p:cNvPr id="302" name="Picture 2" descr="https://mediabank.partners.extranet.microsoft.com/Assets/Active/M-Q/Microsoft_.NET/Microsoft_NET_ADO_.NET/Logos+Logotypes/NET-ADO_bL.png"/>
                <p:cNvPicPr>
                  <a:picLocks noChangeAspect="1" noChangeArrowheads="1"/>
                </p:cNvPicPr>
                <p:nvPr/>
              </p:nvPicPr>
              <p:blipFill>
                <a:blip r:embed="rId5" cstate="print">
                  <a:alphaModFix/>
                  <a:duotone>
                    <a:schemeClr val="bg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Lst>
                </a:blip>
                <a:srcRect r="31488"/>
                <a:stretch>
                  <a:fillRect/>
                </a:stretch>
              </p:blipFill>
              <p:spPr bwMode="auto">
                <a:xfrm>
                  <a:off x="10157938" y="1894915"/>
                  <a:ext cx="1597140" cy="461411"/>
                </a:xfrm>
                <a:prstGeom prst="rect">
                  <a:avLst/>
                </a:prstGeom>
                <a:noFill/>
              </p:spPr>
            </p:pic>
            <p:pic>
              <p:nvPicPr>
                <p:cNvPr id="303" name="Picture 302"/>
                <p:cNvPicPr>
                  <a:picLocks noChangeAspect="1"/>
                </p:cNvPicPr>
                <p:nvPr/>
              </p:nvPicPr>
              <p:blipFill>
                <a:blip r:embed="rId7" cstate="print">
                  <a:duotone>
                    <a:prstClr val="black"/>
                    <a:schemeClr val="tx2">
                      <a:tint val="45000"/>
                      <a:satMod val="400000"/>
                    </a:schemeClr>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tretch>
                  <a:fillRect/>
                </a:stretch>
              </p:blipFill>
              <p:spPr>
                <a:xfrm>
                  <a:off x="10230258" y="4863638"/>
                  <a:ext cx="1452500" cy="383876"/>
                </a:xfrm>
                <a:prstGeom prst="rect">
                  <a:avLst/>
                </a:prstGeom>
                <a:noFill/>
                <a:ln>
                  <a:noFill/>
                </a:ln>
              </p:spPr>
            </p:pic>
            <p:pic>
              <p:nvPicPr>
                <p:cNvPr id="304" name="Picture 2" descr="https://www.python.org/static/community_logos/python-logo-master-v3-TM-flattened.pn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90777" y="5633801"/>
                  <a:ext cx="1731463" cy="584709"/>
                </a:xfrm>
                <a:prstGeom prst="rect">
                  <a:avLst/>
                </a:prstGeom>
                <a:noFill/>
                <a:extLst>
                  <a:ext uri="{909E8E84-426E-40DD-AFC4-6F175D3DCCD1}">
                    <a14:hiddenFill xmlns:a14="http://schemas.microsoft.com/office/drawing/2010/main">
                      <a:solidFill>
                        <a:srgbClr val="FFFFFF"/>
                      </a:solidFill>
                    </a14:hiddenFill>
                  </a:ext>
                </a:extLst>
              </p:spPr>
            </p:pic>
            <p:pic>
              <p:nvPicPr>
                <p:cNvPr id="305" name="Picture 4" descr="http://static.wixstatic.com/media/75024b_8971d5a7c8f86cf9297b0fef2a98fc3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348123" y="3832761"/>
                  <a:ext cx="1216770" cy="644591"/>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4" name="Footer Placeholder 3"/>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5" name="Slide Number Placeholder 4"/>
          <p:cNvSpPr>
            <a:spLocks noGrp="1"/>
          </p:cNvSpPr>
          <p:nvPr>
            <p:ph type="sldNum" sz="quarter" idx="11"/>
          </p:nvPr>
        </p:nvSpPr>
        <p:spPr/>
        <p:txBody>
          <a:bodyPr/>
          <a:lstStyle/>
          <a:p>
            <a:fld id="{27258FFF-F925-446B-8502-81C933981705}" type="slidenum">
              <a:rPr>
                <a:solidFill>
                  <a:srgbClr val="505050"/>
                </a:solidFill>
              </a:rPr>
              <a:pPr/>
              <a:t>7</a:t>
            </a:fld>
            <a:endParaRPr>
              <a:solidFill>
                <a:srgbClr val="505050"/>
              </a:solidFill>
            </a:endParaRPr>
          </a:p>
        </p:txBody>
      </p:sp>
    </p:spTree>
    <p:extLst>
      <p:ext uri="{BB962C8B-B14F-4D97-AF65-F5344CB8AC3E}">
        <p14:creationId xmlns:p14="http://schemas.microsoft.com/office/powerpoint/2010/main" val="33780117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23"/>
                                        </p:tgtEl>
                                        <p:attrNameLst>
                                          <p:attrName>style.visibility</p:attrName>
                                        </p:attrNameLst>
                                      </p:cBhvr>
                                      <p:to>
                                        <p:strVal val="visible"/>
                                      </p:to>
                                    </p:set>
                                    <p:animEffect transition="in" filter="fade">
                                      <p:cBhvr>
                                        <p:cTn id="12" dur="1000"/>
                                        <p:tgtEl>
                                          <p:spTgt spid="3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4"/>
                                        </p:tgtEl>
                                        <p:attrNameLst>
                                          <p:attrName>style.visibility</p:attrName>
                                        </p:attrNameLst>
                                      </p:cBhvr>
                                      <p:to>
                                        <p:strVal val="visible"/>
                                      </p:to>
                                    </p:set>
                                    <p:animEffect transition="in" filter="fade">
                                      <p:cBhvr>
                                        <p:cTn id="17" dur="1000"/>
                                        <p:tgtEl>
                                          <p:spTgt spid="3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p:cNvGrpSpPr/>
          <p:nvPr/>
        </p:nvGrpSpPr>
        <p:grpSpPr>
          <a:xfrm>
            <a:off x="1" y="5249054"/>
            <a:ext cx="12209835" cy="1608464"/>
            <a:chOff x="0" y="5154706"/>
            <a:chExt cx="12454668" cy="1839819"/>
          </a:xfrm>
        </p:grpSpPr>
        <p:sp>
          <p:nvSpPr>
            <p:cNvPr id="135" name="Rectangle 134"/>
            <p:cNvSpPr/>
            <p:nvPr/>
          </p:nvSpPr>
          <p:spPr bwMode="auto">
            <a:xfrm>
              <a:off x="1771830" y="6393065"/>
              <a:ext cx="1011238" cy="601460"/>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6" name="Group 135"/>
            <p:cNvGrpSpPr/>
            <p:nvPr/>
          </p:nvGrpSpPr>
          <p:grpSpPr>
            <a:xfrm>
              <a:off x="2235640" y="5921813"/>
              <a:ext cx="7849519" cy="1072712"/>
              <a:chOff x="2235640" y="5921813"/>
              <a:chExt cx="7849519" cy="1072712"/>
            </a:xfrm>
          </p:grpSpPr>
          <p:sp>
            <p:nvSpPr>
              <p:cNvPr id="202" name="Rectangle 34"/>
              <p:cNvSpPr>
                <a:spLocks noChangeArrowheads="1"/>
              </p:cNvSpPr>
              <p:nvPr/>
            </p:nvSpPr>
            <p:spPr bwMode="auto">
              <a:xfrm flipH="1">
                <a:off x="2235640" y="6948273"/>
                <a:ext cx="7849519" cy="46252"/>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nvGrpSpPr>
              <p:cNvPr id="203" name="Group 202"/>
              <p:cNvGrpSpPr/>
              <p:nvPr/>
            </p:nvGrpSpPr>
            <p:grpSpPr>
              <a:xfrm flipH="1">
                <a:off x="5622079" y="6552206"/>
                <a:ext cx="203193" cy="393100"/>
                <a:chOff x="6812419" y="6555317"/>
                <a:chExt cx="203193" cy="393100"/>
              </a:xfrm>
            </p:grpSpPr>
            <p:sp>
              <p:nvSpPr>
                <p:cNvPr id="248" name="Rectangle 35"/>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9" name="Oval 36"/>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50" name="Oval 37"/>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04" name="Group 203"/>
              <p:cNvGrpSpPr/>
              <p:nvPr/>
            </p:nvGrpSpPr>
            <p:grpSpPr>
              <a:xfrm flipH="1">
                <a:off x="5354802" y="6552206"/>
                <a:ext cx="204756" cy="393100"/>
                <a:chOff x="7078133" y="6555317"/>
                <a:chExt cx="204756" cy="393100"/>
              </a:xfrm>
            </p:grpSpPr>
            <p:sp>
              <p:nvSpPr>
                <p:cNvPr id="245"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6"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7"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05" name="Group 204"/>
              <p:cNvGrpSpPr/>
              <p:nvPr/>
            </p:nvGrpSpPr>
            <p:grpSpPr>
              <a:xfrm flipH="1">
                <a:off x="4300301" y="5921813"/>
                <a:ext cx="779166" cy="1028469"/>
                <a:chOff x="10027859" y="5966057"/>
                <a:chExt cx="779166" cy="1028469"/>
              </a:xfrm>
            </p:grpSpPr>
            <p:sp>
              <p:nvSpPr>
                <p:cNvPr id="217" name="Rectangle 10"/>
                <p:cNvSpPr>
                  <a:spLocks noChangeArrowheads="1"/>
                </p:cNvSpPr>
                <p:nvPr/>
              </p:nvSpPr>
              <p:spPr bwMode="auto">
                <a:xfrm>
                  <a:off x="10063027" y="6104385"/>
                  <a:ext cx="708830" cy="890141"/>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8" name="Rectangle 11"/>
                <p:cNvSpPr>
                  <a:spLocks noChangeArrowheads="1"/>
                </p:cNvSpPr>
                <p:nvPr/>
              </p:nvSpPr>
              <p:spPr bwMode="auto">
                <a:xfrm>
                  <a:off x="10027859" y="6077032"/>
                  <a:ext cx="779166" cy="27353"/>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9" name="Rectangle 12"/>
                <p:cNvSpPr>
                  <a:spLocks noChangeArrowheads="1"/>
                </p:cNvSpPr>
                <p:nvPr/>
              </p:nvSpPr>
              <p:spPr bwMode="auto">
                <a:xfrm>
                  <a:off x="10129455" y="6185662"/>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0" name="Rectangle 13"/>
                <p:cNvSpPr>
                  <a:spLocks noChangeArrowheads="1"/>
                </p:cNvSpPr>
                <p:nvPr/>
              </p:nvSpPr>
              <p:spPr bwMode="auto">
                <a:xfrm>
                  <a:off x="10129455" y="6185662"/>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3" name="Rectangle 14"/>
                <p:cNvSpPr>
                  <a:spLocks noChangeArrowheads="1"/>
                </p:cNvSpPr>
                <p:nvPr/>
              </p:nvSpPr>
              <p:spPr bwMode="auto">
                <a:xfrm>
                  <a:off x="10289665" y="6185662"/>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4" name="Rectangle 15"/>
                <p:cNvSpPr>
                  <a:spLocks noChangeArrowheads="1"/>
                </p:cNvSpPr>
                <p:nvPr/>
              </p:nvSpPr>
              <p:spPr bwMode="auto">
                <a:xfrm>
                  <a:off x="10448311" y="6185662"/>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5" name="Rectangle 16"/>
                <p:cNvSpPr>
                  <a:spLocks noChangeArrowheads="1"/>
                </p:cNvSpPr>
                <p:nvPr/>
              </p:nvSpPr>
              <p:spPr bwMode="auto">
                <a:xfrm>
                  <a:off x="10289665" y="6813997"/>
                  <a:ext cx="92218" cy="18052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6" name="Rectangle 17"/>
                <p:cNvSpPr>
                  <a:spLocks noChangeArrowheads="1"/>
                </p:cNvSpPr>
                <p:nvPr/>
              </p:nvSpPr>
              <p:spPr bwMode="auto">
                <a:xfrm>
                  <a:off x="10448311" y="6813997"/>
                  <a:ext cx="93000" cy="18052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7" name="Rectangle 18"/>
                <p:cNvSpPr>
                  <a:spLocks noChangeArrowheads="1"/>
                </p:cNvSpPr>
                <p:nvPr/>
              </p:nvSpPr>
              <p:spPr bwMode="auto">
                <a:xfrm>
                  <a:off x="10609302" y="6185662"/>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8" name="Rectangle 19"/>
                <p:cNvSpPr>
                  <a:spLocks noChangeArrowheads="1"/>
                </p:cNvSpPr>
                <p:nvPr/>
              </p:nvSpPr>
              <p:spPr bwMode="auto">
                <a:xfrm>
                  <a:off x="10129455" y="6344309"/>
                  <a:ext cx="92218" cy="9300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29" name="Rectangle 20"/>
                <p:cNvSpPr>
                  <a:spLocks noChangeArrowheads="1"/>
                </p:cNvSpPr>
                <p:nvPr/>
              </p:nvSpPr>
              <p:spPr bwMode="auto">
                <a:xfrm>
                  <a:off x="10289665" y="6344309"/>
                  <a:ext cx="92218" cy="930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0" name="Rectangle 21"/>
                <p:cNvSpPr>
                  <a:spLocks noChangeArrowheads="1"/>
                </p:cNvSpPr>
                <p:nvPr/>
              </p:nvSpPr>
              <p:spPr bwMode="auto">
                <a:xfrm>
                  <a:off x="10448311" y="6344309"/>
                  <a:ext cx="93000" cy="93000"/>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2" name="Rectangle 22"/>
                <p:cNvSpPr>
                  <a:spLocks noChangeArrowheads="1"/>
                </p:cNvSpPr>
                <p:nvPr/>
              </p:nvSpPr>
              <p:spPr bwMode="auto">
                <a:xfrm>
                  <a:off x="10609302" y="6344309"/>
                  <a:ext cx="92218" cy="93000"/>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3" name="Rectangle 23"/>
                <p:cNvSpPr>
                  <a:spLocks noChangeArrowheads="1"/>
                </p:cNvSpPr>
                <p:nvPr/>
              </p:nvSpPr>
              <p:spPr bwMode="auto">
                <a:xfrm>
                  <a:off x="10129455"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4" name="Rectangle 24"/>
                <p:cNvSpPr>
                  <a:spLocks noChangeArrowheads="1"/>
                </p:cNvSpPr>
                <p:nvPr/>
              </p:nvSpPr>
              <p:spPr bwMode="auto">
                <a:xfrm>
                  <a:off x="10289665" y="6505300"/>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5" name="Rectangle 25"/>
                <p:cNvSpPr>
                  <a:spLocks noChangeArrowheads="1"/>
                </p:cNvSpPr>
                <p:nvPr/>
              </p:nvSpPr>
              <p:spPr bwMode="auto">
                <a:xfrm>
                  <a:off x="10448311" y="6505300"/>
                  <a:ext cx="93000"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6" name="Rectangle 26"/>
                <p:cNvSpPr>
                  <a:spLocks noChangeArrowheads="1"/>
                </p:cNvSpPr>
                <p:nvPr/>
              </p:nvSpPr>
              <p:spPr bwMode="auto">
                <a:xfrm>
                  <a:off x="10609302" y="6505300"/>
                  <a:ext cx="92218" cy="9221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7" name="Rectangle 27"/>
                <p:cNvSpPr>
                  <a:spLocks noChangeArrowheads="1"/>
                </p:cNvSpPr>
                <p:nvPr/>
              </p:nvSpPr>
              <p:spPr bwMode="auto">
                <a:xfrm>
                  <a:off x="10129455" y="6663947"/>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8" name="Rectangle 28"/>
                <p:cNvSpPr>
                  <a:spLocks noChangeArrowheads="1"/>
                </p:cNvSpPr>
                <p:nvPr/>
              </p:nvSpPr>
              <p:spPr bwMode="auto">
                <a:xfrm>
                  <a:off x="10289665" y="6663947"/>
                  <a:ext cx="92218"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39" name="Rectangle 29"/>
                <p:cNvSpPr>
                  <a:spLocks noChangeArrowheads="1"/>
                </p:cNvSpPr>
                <p:nvPr/>
              </p:nvSpPr>
              <p:spPr bwMode="auto">
                <a:xfrm>
                  <a:off x="10448311" y="6663947"/>
                  <a:ext cx="93000" cy="9221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0" name="Rectangle 30"/>
                <p:cNvSpPr>
                  <a:spLocks noChangeArrowheads="1"/>
                </p:cNvSpPr>
                <p:nvPr/>
              </p:nvSpPr>
              <p:spPr bwMode="auto">
                <a:xfrm>
                  <a:off x="10609302" y="6663947"/>
                  <a:ext cx="92218" cy="92218"/>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1" name="Rectangle 31"/>
                <p:cNvSpPr>
                  <a:spLocks noChangeArrowheads="1"/>
                </p:cNvSpPr>
                <p:nvPr/>
              </p:nvSpPr>
              <p:spPr bwMode="auto">
                <a:xfrm>
                  <a:off x="10129455" y="6505300"/>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2" name="Rectangle 32"/>
                <p:cNvSpPr>
                  <a:spLocks noChangeArrowheads="1"/>
                </p:cNvSpPr>
                <p:nvPr/>
              </p:nvSpPr>
              <p:spPr bwMode="auto">
                <a:xfrm>
                  <a:off x="10609302" y="6505300"/>
                  <a:ext cx="92218" cy="46109"/>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3" name="Rectangle 33"/>
                <p:cNvSpPr>
                  <a:spLocks noChangeArrowheads="1"/>
                </p:cNvSpPr>
                <p:nvPr/>
              </p:nvSpPr>
              <p:spPr bwMode="auto">
                <a:xfrm>
                  <a:off x="10609302" y="6344309"/>
                  <a:ext cx="92218" cy="46891"/>
                </a:xfrm>
                <a:prstGeom prst="rect">
                  <a:avLst/>
                </a:prstGeom>
                <a:solidFill>
                  <a:schemeClr val="accent1">
                    <a:lumMod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44" name="Rectangle 41"/>
                <p:cNvSpPr>
                  <a:spLocks noChangeArrowheads="1"/>
                </p:cNvSpPr>
                <p:nvPr/>
              </p:nvSpPr>
              <p:spPr bwMode="auto">
                <a:xfrm>
                  <a:off x="10381881" y="5966057"/>
                  <a:ext cx="273529" cy="1109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06" name="Group 205"/>
              <p:cNvGrpSpPr/>
              <p:nvPr/>
            </p:nvGrpSpPr>
            <p:grpSpPr>
              <a:xfrm flipH="1">
                <a:off x="4027747" y="6556825"/>
                <a:ext cx="204756" cy="393100"/>
                <a:chOff x="7078133" y="6555317"/>
                <a:chExt cx="204756" cy="393100"/>
              </a:xfrm>
            </p:grpSpPr>
            <p:sp>
              <p:nvSpPr>
                <p:cNvPr id="214" name="Rectangle 38"/>
                <p:cNvSpPr>
                  <a:spLocks noChangeArrowheads="1"/>
                </p:cNvSpPr>
                <p:nvPr/>
              </p:nvSpPr>
              <p:spPr bwMode="auto">
                <a:xfrm>
                  <a:off x="7161754" y="6795241"/>
                  <a:ext cx="39857"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5" name="Oval 39"/>
                <p:cNvSpPr>
                  <a:spLocks noChangeArrowheads="1"/>
                </p:cNvSpPr>
                <p:nvPr/>
              </p:nvSpPr>
              <p:spPr bwMode="auto">
                <a:xfrm>
                  <a:off x="7078133" y="6660039"/>
                  <a:ext cx="204756"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6" name="Oval 40"/>
                <p:cNvSpPr>
                  <a:spLocks noChangeArrowheads="1"/>
                </p:cNvSpPr>
                <p:nvPr/>
              </p:nvSpPr>
              <p:spPr bwMode="auto">
                <a:xfrm>
                  <a:off x="7106267" y="6555317"/>
                  <a:ext cx="149269"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209" name="Group 208"/>
              <p:cNvGrpSpPr/>
              <p:nvPr/>
            </p:nvGrpSpPr>
            <p:grpSpPr>
              <a:xfrm flipH="1">
                <a:off x="7540920" y="6552206"/>
                <a:ext cx="203193" cy="393100"/>
                <a:chOff x="6812419" y="6555317"/>
                <a:chExt cx="203193" cy="393100"/>
              </a:xfrm>
            </p:grpSpPr>
            <p:sp>
              <p:nvSpPr>
                <p:cNvPr id="210" name="Rectangle 209"/>
                <p:cNvSpPr>
                  <a:spLocks noChangeArrowheads="1"/>
                </p:cNvSpPr>
                <p:nvPr/>
              </p:nvSpPr>
              <p:spPr bwMode="auto">
                <a:xfrm>
                  <a:off x="6895260" y="6795241"/>
                  <a:ext cx="40639" cy="15317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1" name="Oval 210"/>
                <p:cNvSpPr>
                  <a:spLocks noChangeArrowheads="1"/>
                </p:cNvSpPr>
                <p:nvPr/>
              </p:nvSpPr>
              <p:spPr bwMode="auto">
                <a:xfrm>
                  <a:off x="6812419" y="6660039"/>
                  <a:ext cx="203193" cy="203193"/>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13" name="Oval 212"/>
                <p:cNvSpPr>
                  <a:spLocks noChangeArrowheads="1"/>
                </p:cNvSpPr>
                <p:nvPr/>
              </p:nvSpPr>
              <p:spPr bwMode="auto">
                <a:xfrm>
                  <a:off x="6839772" y="6555317"/>
                  <a:ext cx="150050" cy="149268"/>
                </a:xfrm>
                <a:prstGeom prst="ellipse">
                  <a:avLst/>
                </a:pr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grpSp>
          <p:nvGrpSpPr>
            <p:cNvPr id="137" name="Group 136"/>
            <p:cNvGrpSpPr/>
            <p:nvPr/>
          </p:nvGrpSpPr>
          <p:grpSpPr>
            <a:xfrm>
              <a:off x="0" y="5154706"/>
              <a:ext cx="2489610" cy="1839819"/>
              <a:chOff x="478286" y="5322208"/>
              <a:chExt cx="2262949" cy="1672317"/>
            </a:xfrm>
          </p:grpSpPr>
          <p:grpSp>
            <p:nvGrpSpPr>
              <p:cNvPr id="183" name="Group 182"/>
              <p:cNvGrpSpPr/>
              <p:nvPr/>
            </p:nvGrpSpPr>
            <p:grpSpPr>
              <a:xfrm>
                <a:off x="1460122" y="5322208"/>
                <a:ext cx="1281113" cy="1672317"/>
                <a:chOff x="1011678" y="5322208"/>
                <a:chExt cx="1281113" cy="1672317"/>
              </a:xfrm>
            </p:grpSpPr>
            <p:sp>
              <p:nvSpPr>
                <p:cNvPr id="192" name="Rectangle 12"/>
                <p:cNvSpPr>
                  <a:spLocks noChangeArrowheads="1"/>
                </p:cNvSpPr>
                <p:nvPr/>
              </p:nvSpPr>
              <p:spPr bwMode="auto">
                <a:xfrm>
                  <a:off x="1072003" y="5546953"/>
                  <a:ext cx="1163638" cy="1447571"/>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3" name="Rectangle 13"/>
                <p:cNvSpPr>
                  <a:spLocks noChangeArrowheads="1"/>
                </p:cNvSpPr>
                <p:nvPr/>
              </p:nvSpPr>
              <p:spPr bwMode="auto">
                <a:xfrm>
                  <a:off x="1011678" y="5503183"/>
                  <a:ext cx="1281113" cy="4445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4" name="Rectangle 14"/>
                <p:cNvSpPr>
                  <a:spLocks noChangeArrowheads="1"/>
                </p:cNvSpPr>
                <p:nvPr/>
              </p:nvSpPr>
              <p:spPr bwMode="auto">
                <a:xfrm>
                  <a:off x="1711765"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5" name="Rectangle 15"/>
                <p:cNvSpPr>
                  <a:spLocks noChangeArrowheads="1"/>
                </p:cNvSpPr>
                <p:nvPr/>
              </p:nvSpPr>
              <p:spPr bwMode="auto">
                <a:xfrm>
                  <a:off x="1446653"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6" name="Rectangle 16"/>
                <p:cNvSpPr>
                  <a:spLocks noChangeArrowheads="1"/>
                </p:cNvSpPr>
                <p:nvPr/>
              </p:nvSpPr>
              <p:spPr bwMode="auto">
                <a:xfrm>
                  <a:off x="1186303" y="5672138"/>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7" name="Rectangle 17"/>
                <p:cNvSpPr>
                  <a:spLocks noChangeArrowheads="1"/>
                </p:cNvSpPr>
                <p:nvPr/>
              </p:nvSpPr>
              <p:spPr bwMode="auto">
                <a:xfrm>
                  <a:off x="1186303" y="5930900"/>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8" name="Rectangle 18"/>
                <p:cNvSpPr>
                  <a:spLocks noChangeArrowheads="1"/>
                </p:cNvSpPr>
                <p:nvPr/>
              </p:nvSpPr>
              <p:spPr bwMode="auto">
                <a:xfrm>
                  <a:off x="1186303"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9" name="Rectangle 19"/>
                <p:cNvSpPr>
                  <a:spLocks noChangeArrowheads="1"/>
                </p:cNvSpPr>
                <p:nvPr/>
              </p:nvSpPr>
              <p:spPr bwMode="auto">
                <a:xfrm>
                  <a:off x="1186303"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00" name="Rectangle 22"/>
                <p:cNvSpPr>
                  <a:spLocks noChangeArrowheads="1"/>
                </p:cNvSpPr>
                <p:nvPr/>
              </p:nvSpPr>
              <p:spPr bwMode="auto">
                <a:xfrm>
                  <a:off x="1905440"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201" name="Rectangle 23"/>
                <p:cNvSpPr>
                  <a:spLocks noChangeArrowheads="1"/>
                </p:cNvSpPr>
                <p:nvPr/>
              </p:nvSpPr>
              <p:spPr bwMode="auto">
                <a:xfrm>
                  <a:off x="1718115" y="5322208"/>
                  <a:ext cx="139700" cy="1809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nvGrpSpPr>
              <p:cNvPr id="184" name="Group 183"/>
              <p:cNvGrpSpPr/>
              <p:nvPr/>
            </p:nvGrpSpPr>
            <p:grpSpPr>
              <a:xfrm>
                <a:off x="478286" y="6026150"/>
                <a:ext cx="1116013" cy="968375"/>
                <a:chOff x="451391" y="6026150"/>
                <a:chExt cx="1116013" cy="968375"/>
              </a:xfrm>
            </p:grpSpPr>
            <p:sp>
              <p:nvSpPr>
                <p:cNvPr id="186" name="Rectangle 6"/>
                <p:cNvSpPr>
                  <a:spLocks noChangeArrowheads="1"/>
                </p:cNvSpPr>
                <p:nvPr/>
              </p:nvSpPr>
              <p:spPr bwMode="auto">
                <a:xfrm>
                  <a:off x="451391" y="6070600"/>
                  <a:ext cx="1058863" cy="923925"/>
                </a:xfrm>
                <a:prstGeom prst="rect">
                  <a:avLst/>
                </a:prstGeom>
                <a:solidFill>
                  <a:schemeClr val="accent2"/>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87" name="Rectangle 7"/>
                <p:cNvSpPr>
                  <a:spLocks noChangeArrowheads="1"/>
                </p:cNvSpPr>
                <p:nvPr/>
              </p:nvSpPr>
              <p:spPr bwMode="auto">
                <a:xfrm>
                  <a:off x="451391" y="6026150"/>
                  <a:ext cx="1116013" cy="4445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88" name="Rectangle 8"/>
                <p:cNvSpPr>
                  <a:spLocks noChangeArrowheads="1"/>
                </p:cNvSpPr>
                <p:nvPr/>
              </p:nvSpPr>
              <p:spPr bwMode="auto">
                <a:xfrm>
                  <a:off x="984791" y="6699250"/>
                  <a:ext cx="152400"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89" name="Rectangle 9"/>
                <p:cNvSpPr>
                  <a:spLocks noChangeArrowheads="1"/>
                </p:cNvSpPr>
                <p:nvPr/>
              </p:nvSpPr>
              <p:spPr bwMode="auto">
                <a:xfrm>
                  <a:off x="724441" y="6699250"/>
                  <a:ext cx="149225" cy="29527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0" name="Rectangle 10"/>
                <p:cNvSpPr>
                  <a:spLocks noChangeArrowheads="1"/>
                </p:cNvSpPr>
                <p:nvPr/>
              </p:nvSpPr>
              <p:spPr bwMode="auto">
                <a:xfrm>
                  <a:off x="460916" y="6194425"/>
                  <a:ext cx="941388" cy="149225"/>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91" name="Rectangle 11"/>
                <p:cNvSpPr>
                  <a:spLocks noChangeArrowheads="1"/>
                </p:cNvSpPr>
                <p:nvPr/>
              </p:nvSpPr>
              <p:spPr bwMode="auto">
                <a:xfrm>
                  <a:off x="460916" y="6454775"/>
                  <a:ext cx="941388" cy="152400"/>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pSp>
        <p:sp>
          <p:nvSpPr>
            <p:cNvPr id="142" name="Rectangle 141"/>
            <p:cNvSpPr/>
            <p:nvPr/>
          </p:nvSpPr>
          <p:spPr bwMode="auto">
            <a:xfrm>
              <a:off x="11443430" y="5538800"/>
              <a:ext cx="1011238" cy="144182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3" name="Rectangle 142"/>
            <p:cNvSpPr/>
            <p:nvPr/>
          </p:nvSpPr>
          <p:spPr bwMode="auto">
            <a:xfrm>
              <a:off x="10715373" y="5249052"/>
              <a:ext cx="1011238" cy="172952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4" name="Rectangle 6"/>
            <p:cNvSpPr>
              <a:spLocks noChangeArrowheads="1"/>
            </p:cNvSpPr>
            <p:nvPr/>
          </p:nvSpPr>
          <p:spPr bwMode="auto">
            <a:xfrm flipH="1">
              <a:off x="11353548" y="6070600"/>
              <a:ext cx="1058863" cy="923925"/>
            </a:xfrm>
            <a:prstGeom prst="rect">
              <a:avLst/>
            </a:prstGeom>
            <a:solidFill>
              <a:schemeClr val="accent1"/>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46" name="Rectangle 7"/>
            <p:cNvSpPr>
              <a:spLocks noChangeArrowheads="1"/>
            </p:cNvSpPr>
            <p:nvPr/>
          </p:nvSpPr>
          <p:spPr bwMode="auto">
            <a:xfrm flipH="1">
              <a:off x="11296398" y="6027522"/>
              <a:ext cx="1116013" cy="44450"/>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0" name="Rectangle 8"/>
            <p:cNvSpPr>
              <a:spLocks noChangeArrowheads="1"/>
            </p:cNvSpPr>
            <p:nvPr/>
          </p:nvSpPr>
          <p:spPr bwMode="auto">
            <a:xfrm flipH="1">
              <a:off x="11726611" y="6691097"/>
              <a:ext cx="152400" cy="29527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59" name="Rectangle 9"/>
            <p:cNvSpPr>
              <a:spLocks noChangeArrowheads="1"/>
            </p:cNvSpPr>
            <p:nvPr/>
          </p:nvSpPr>
          <p:spPr bwMode="auto">
            <a:xfrm flipH="1">
              <a:off x="11990136" y="6691097"/>
              <a:ext cx="149225" cy="29527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0" name="Rectangle 10"/>
            <p:cNvSpPr>
              <a:spLocks noChangeArrowheads="1"/>
            </p:cNvSpPr>
            <p:nvPr/>
          </p:nvSpPr>
          <p:spPr bwMode="auto">
            <a:xfrm flipH="1">
              <a:off x="11461498" y="6186272"/>
              <a:ext cx="941388" cy="149225"/>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1" name="Rectangle 11"/>
            <p:cNvSpPr>
              <a:spLocks noChangeArrowheads="1"/>
            </p:cNvSpPr>
            <p:nvPr/>
          </p:nvSpPr>
          <p:spPr bwMode="auto">
            <a:xfrm flipH="1">
              <a:off x="11461498" y="6446622"/>
              <a:ext cx="941388" cy="152400"/>
            </a:xfrm>
            <a:prstGeom prst="rect">
              <a:avLst/>
            </a:prstGeom>
            <a:solidFill>
              <a:srgbClr val="004564"/>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68" name="Rectangle 12"/>
            <p:cNvSpPr>
              <a:spLocks noChangeArrowheads="1"/>
            </p:cNvSpPr>
            <p:nvPr/>
          </p:nvSpPr>
          <p:spPr bwMode="auto">
            <a:xfrm flipH="1">
              <a:off x="10064271" y="5546954"/>
              <a:ext cx="1163638" cy="1447571"/>
            </a:xfrm>
            <a:prstGeom prst="rect">
              <a:avLst/>
            </a:prstGeom>
            <a:solidFill>
              <a:schemeClr val="accent2">
                <a:lumMod val="75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0" name="Rectangle 13"/>
            <p:cNvSpPr>
              <a:spLocks noChangeArrowheads="1"/>
            </p:cNvSpPr>
            <p:nvPr/>
          </p:nvSpPr>
          <p:spPr bwMode="auto">
            <a:xfrm flipH="1">
              <a:off x="10007121" y="5507909"/>
              <a:ext cx="1281113" cy="44450"/>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1" name="Rectangle 14"/>
            <p:cNvSpPr>
              <a:spLocks noChangeArrowheads="1"/>
            </p:cNvSpPr>
            <p:nvPr/>
          </p:nvSpPr>
          <p:spPr bwMode="auto">
            <a:xfrm flipH="1">
              <a:off x="10435747" y="6691097"/>
              <a:ext cx="152400" cy="29527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3" name="Rectangle 15"/>
            <p:cNvSpPr>
              <a:spLocks noChangeArrowheads="1"/>
            </p:cNvSpPr>
            <p:nvPr/>
          </p:nvSpPr>
          <p:spPr bwMode="auto">
            <a:xfrm flipH="1">
              <a:off x="10700859" y="6691097"/>
              <a:ext cx="152400" cy="29527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4" name="Rectangle 16"/>
            <p:cNvSpPr>
              <a:spLocks noChangeArrowheads="1"/>
            </p:cNvSpPr>
            <p:nvPr/>
          </p:nvSpPr>
          <p:spPr bwMode="auto">
            <a:xfrm flipH="1">
              <a:off x="10172221" y="5663985"/>
              <a:ext cx="941388" cy="152400"/>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6" name="Rectangle 17"/>
            <p:cNvSpPr>
              <a:spLocks noChangeArrowheads="1"/>
            </p:cNvSpPr>
            <p:nvPr/>
          </p:nvSpPr>
          <p:spPr bwMode="auto">
            <a:xfrm flipH="1">
              <a:off x="10172221" y="5922747"/>
              <a:ext cx="941388" cy="152400"/>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7" name="Rectangle 18"/>
            <p:cNvSpPr>
              <a:spLocks noChangeArrowheads="1"/>
            </p:cNvSpPr>
            <p:nvPr/>
          </p:nvSpPr>
          <p:spPr bwMode="auto">
            <a:xfrm flipH="1">
              <a:off x="10172221" y="6186272"/>
              <a:ext cx="941388" cy="14922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79" name="Rectangle 19"/>
            <p:cNvSpPr>
              <a:spLocks noChangeArrowheads="1"/>
            </p:cNvSpPr>
            <p:nvPr/>
          </p:nvSpPr>
          <p:spPr bwMode="auto">
            <a:xfrm flipH="1">
              <a:off x="10172221" y="6446622"/>
              <a:ext cx="941388" cy="152400"/>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80" name="Rectangle 22"/>
            <p:cNvSpPr>
              <a:spLocks noChangeArrowheads="1"/>
            </p:cNvSpPr>
            <p:nvPr/>
          </p:nvSpPr>
          <p:spPr bwMode="auto">
            <a:xfrm flipH="1">
              <a:off x="10254772" y="5326934"/>
              <a:ext cx="139700" cy="18097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sp>
          <p:nvSpPr>
            <p:cNvPr id="181" name="Rectangle 23"/>
            <p:cNvSpPr>
              <a:spLocks noChangeArrowheads="1"/>
            </p:cNvSpPr>
            <p:nvPr/>
          </p:nvSpPr>
          <p:spPr bwMode="auto">
            <a:xfrm flipH="1">
              <a:off x="10442097" y="5326934"/>
              <a:ext cx="139700" cy="180975"/>
            </a:xfrm>
            <a:prstGeom prst="rect">
              <a:avLst/>
            </a:prstGeom>
            <a:solidFill>
              <a:schemeClr val="accent2">
                <a:lumMod val="50000"/>
              </a:schemeClr>
            </a:solidFill>
            <a:ln>
              <a:noFill/>
            </a:ln>
            <a:extLst/>
          </p:spPr>
          <p:txBody>
            <a:bodyPr vert="horz" wrap="square" lIns="89642" tIns="44821" rIns="89642" bIns="44821" numCol="1" anchor="t" anchorCtr="0" compatLnSpc="1">
              <a:prstTxWarp prst="textNoShape">
                <a:avLst/>
              </a:prstTxWarp>
            </a:bodyPr>
            <a:lstStyle/>
            <a:p>
              <a:pPr defTabSz="913844"/>
              <a:endParaRPr lang="en-US" sz="1765">
                <a:solidFill>
                  <a:srgbClr val="000000"/>
                </a:solidFill>
              </a:endParaRPr>
            </a:p>
          </p:txBody>
        </p:sp>
      </p:grpSp>
      <p:graphicFrame>
        <p:nvGraphicFramePr>
          <p:cNvPr id="107" name="Object 106"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23555" name="think-cell Slide" r:id="rId4" imgW="377" imgH="377" progId="TCLayout.ActiveDocument.1">
                  <p:embed/>
                </p:oleObj>
              </mc:Choice>
              <mc:Fallback>
                <p:oleObj name="think-cell Slide" r:id="rId4" imgW="377" imgH="377" progId="TCLayout.ActiveDocument.1">
                  <p:embed/>
                  <p:pic>
                    <p:nvPicPr>
                      <p:cNvPr id="0" name=""/>
                      <p:cNvPicPr/>
                      <p:nvPr/>
                    </p:nvPicPr>
                    <p:blipFill>
                      <a:blip r:embed="rId5"/>
                      <a:stretch>
                        <a:fillRect/>
                      </a:stretch>
                    </p:blipFill>
                    <p:spPr>
                      <a:xfrm>
                        <a:off x="1558" y="2044"/>
                        <a:ext cx="1556" cy="1556"/>
                      </a:xfrm>
                      <a:prstGeom prst="rect">
                        <a:avLst/>
                      </a:prstGeom>
                    </p:spPr>
                  </p:pic>
                </p:oleObj>
              </mc:Fallback>
            </mc:AlternateContent>
          </a:graphicData>
        </a:graphic>
      </p:graphicFrame>
      <p:cxnSp>
        <p:nvCxnSpPr>
          <p:cNvPr id="169" name="Straight Connector 168"/>
          <p:cNvCxnSpPr>
            <a:stCxn id="162" idx="6"/>
            <a:endCxn id="139" idx="1"/>
          </p:cNvCxnSpPr>
          <p:nvPr/>
        </p:nvCxnSpPr>
        <p:spPr>
          <a:xfrm>
            <a:off x="1619223" y="2327831"/>
            <a:ext cx="51881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a:stCxn id="163" idx="6"/>
            <a:endCxn id="140" idx="1"/>
          </p:cNvCxnSpPr>
          <p:nvPr/>
        </p:nvCxnSpPr>
        <p:spPr>
          <a:xfrm>
            <a:off x="1619223" y="3194402"/>
            <a:ext cx="51881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a:stCxn id="164" idx="6"/>
            <a:endCxn id="141" idx="1"/>
          </p:cNvCxnSpPr>
          <p:nvPr/>
        </p:nvCxnSpPr>
        <p:spPr>
          <a:xfrm>
            <a:off x="1619223" y="4060968"/>
            <a:ext cx="51881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IN" dirty="0"/>
              <a:t>U.S. Public Sector requirements and needs</a:t>
            </a:r>
          </a:p>
        </p:txBody>
      </p:sp>
      <p:sp>
        <p:nvSpPr>
          <p:cNvPr id="125" name="Rectangle 124"/>
          <p:cNvSpPr/>
          <p:nvPr/>
        </p:nvSpPr>
        <p:spPr bwMode="auto">
          <a:xfrm>
            <a:off x="568049" y="1924440"/>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29" name="Rectangle 128"/>
          <p:cNvSpPr/>
          <p:nvPr/>
        </p:nvSpPr>
        <p:spPr bwMode="auto">
          <a:xfrm>
            <a:off x="568049" y="2791011"/>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30" name="Rectangle 129"/>
          <p:cNvSpPr/>
          <p:nvPr/>
        </p:nvSpPr>
        <p:spPr bwMode="auto">
          <a:xfrm>
            <a:off x="568049" y="3657577"/>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38" name="Rectangle 137"/>
          <p:cNvSpPr/>
          <p:nvPr/>
        </p:nvSpPr>
        <p:spPr bwMode="auto">
          <a:xfrm>
            <a:off x="2093410" y="1378072"/>
            <a:ext cx="3890097" cy="417424"/>
          </a:xfrm>
          <a:prstGeom prst="rect">
            <a:avLst/>
          </a:prstGeom>
          <a:solidFill>
            <a:schemeClr val="accent1"/>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50" rIns="89642" bIns="62750" numCol="1" spcCol="0" rtlCol="0" fromWordArt="0" anchor="t" anchorCtr="0" forceAA="0" compatLnSpc="1">
            <a:prstTxWarp prst="textNoShape">
              <a:avLst/>
            </a:prstTxWarp>
            <a:noAutofit/>
          </a:bodyPr>
          <a:lstStyle/>
          <a:p>
            <a:pPr algn="ctr" defTabSz="913844" fontAlgn="b"/>
            <a:r>
              <a:rPr lang="en-US" sz="1961" dirty="0">
                <a:solidFill>
                  <a:srgbClr val="FFFFFF"/>
                </a:solidFill>
                <a:latin typeface="Segoe UI Light"/>
                <a:cs typeface="Segoe UI Semibold" panose="020B0702040204020203" pitchFamily="34" charset="0"/>
              </a:rPr>
              <a:t>Needs</a:t>
            </a:r>
          </a:p>
        </p:txBody>
      </p:sp>
      <p:sp>
        <p:nvSpPr>
          <p:cNvPr id="145" name="Isosceles Triangle 144"/>
          <p:cNvSpPr/>
          <p:nvPr/>
        </p:nvSpPr>
        <p:spPr bwMode="auto">
          <a:xfrm rot="10800000">
            <a:off x="3936099" y="1786824"/>
            <a:ext cx="204722" cy="10595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10635305" y="1924440"/>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48" name="Rectangle 147"/>
          <p:cNvSpPr/>
          <p:nvPr/>
        </p:nvSpPr>
        <p:spPr bwMode="auto">
          <a:xfrm>
            <a:off x="10635305" y="2791011"/>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49" name="Rectangle 148"/>
          <p:cNvSpPr/>
          <p:nvPr/>
        </p:nvSpPr>
        <p:spPr bwMode="auto">
          <a:xfrm>
            <a:off x="10635305" y="3657577"/>
            <a:ext cx="986067" cy="806782"/>
          </a:xfrm>
          <a:prstGeom prst="rect">
            <a:avLst/>
          </a:prstGeom>
          <a:solidFill>
            <a:schemeClr val="bg1">
              <a:lumMod val="95000"/>
            </a:schemeClr>
          </a:solidFill>
          <a:ln w="31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endParaRPr lang="en-US" sz="1568" dirty="0">
              <a:solidFill>
                <a:srgbClr val="505050"/>
              </a:solidFill>
              <a:latin typeface="Segoe UI Semibold" panose="020B0702040204020203" pitchFamily="34" charset="0"/>
            </a:endParaRPr>
          </a:p>
        </p:txBody>
      </p:sp>
      <p:sp>
        <p:nvSpPr>
          <p:cNvPr id="154" name="Rectangle 153"/>
          <p:cNvSpPr/>
          <p:nvPr/>
        </p:nvSpPr>
        <p:spPr bwMode="auto">
          <a:xfrm>
            <a:off x="6207716" y="1378072"/>
            <a:ext cx="3890097" cy="417424"/>
          </a:xfrm>
          <a:prstGeom prst="rect">
            <a:avLst/>
          </a:prstGeom>
          <a:solidFill>
            <a:schemeClr val="accent2"/>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62750" rIns="89642" bIns="62750" numCol="1" spcCol="0" rtlCol="0" fromWordArt="0" anchor="t" anchorCtr="0" forceAA="0" compatLnSpc="1">
            <a:prstTxWarp prst="textNoShape">
              <a:avLst/>
            </a:prstTxWarp>
            <a:noAutofit/>
          </a:bodyPr>
          <a:lstStyle/>
          <a:p>
            <a:pPr algn="ctr" defTabSz="913844" fontAlgn="b"/>
            <a:r>
              <a:rPr lang="en-US" sz="1961" dirty="0">
                <a:solidFill>
                  <a:srgbClr val="FFFFFF"/>
                </a:solidFill>
                <a:latin typeface="Segoe UI Light"/>
                <a:cs typeface="Segoe UI Semibold" panose="020B0702040204020203" pitchFamily="34" charset="0"/>
              </a:rPr>
              <a:t>Requirements</a:t>
            </a:r>
          </a:p>
        </p:txBody>
      </p:sp>
      <p:sp>
        <p:nvSpPr>
          <p:cNvPr id="132" name="Rectangle 131"/>
          <p:cNvSpPr/>
          <p:nvPr/>
        </p:nvSpPr>
        <p:spPr bwMode="auto">
          <a:xfrm>
            <a:off x="2093410" y="1924440"/>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39" name="Rectangle 138"/>
          <p:cNvSpPr/>
          <p:nvPr/>
        </p:nvSpPr>
        <p:spPr bwMode="auto">
          <a:xfrm>
            <a:off x="2138038" y="1924440"/>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US" sz="1568" dirty="0">
                <a:solidFill>
                  <a:srgbClr val="505050"/>
                </a:solidFill>
              </a:rPr>
              <a:t>Increase own agility</a:t>
            </a:r>
          </a:p>
        </p:txBody>
      </p:sp>
      <p:sp>
        <p:nvSpPr>
          <p:cNvPr id="151" name="Rectangle 150"/>
          <p:cNvSpPr/>
          <p:nvPr/>
        </p:nvSpPr>
        <p:spPr bwMode="auto">
          <a:xfrm>
            <a:off x="6207716" y="1924440"/>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55" name="Rectangle 154"/>
          <p:cNvSpPr/>
          <p:nvPr/>
        </p:nvSpPr>
        <p:spPr bwMode="auto">
          <a:xfrm>
            <a:off x="6252344" y="1924440"/>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US" sz="1568" dirty="0">
                <a:solidFill>
                  <a:srgbClr val="505050"/>
                </a:solidFill>
              </a:rPr>
              <a:t>Specific security controls</a:t>
            </a:r>
          </a:p>
        </p:txBody>
      </p:sp>
      <p:sp>
        <p:nvSpPr>
          <p:cNvPr id="133" name="Rectangle 132"/>
          <p:cNvSpPr/>
          <p:nvPr/>
        </p:nvSpPr>
        <p:spPr bwMode="auto">
          <a:xfrm>
            <a:off x="2093410" y="2791011"/>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40" name="Rectangle 139"/>
          <p:cNvSpPr/>
          <p:nvPr/>
        </p:nvSpPr>
        <p:spPr bwMode="auto">
          <a:xfrm>
            <a:off x="2138038" y="2791011"/>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US" sz="1568" dirty="0">
                <a:solidFill>
                  <a:srgbClr val="505050"/>
                </a:solidFill>
              </a:rPr>
              <a:t>Minimize datacenter investments</a:t>
            </a:r>
          </a:p>
        </p:txBody>
      </p:sp>
      <p:sp>
        <p:nvSpPr>
          <p:cNvPr id="152" name="Rectangle 151"/>
          <p:cNvSpPr/>
          <p:nvPr/>
        </p:nvSpPr>
        <p:spPr bwMode="auto">
          <a:xfrm>
            <a:off x="6207716" y="2791011"/>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56" name="Rectangle 155"/>
          <p:cNvSpPr/>
          <p:nvPr/>
        </p:nvSpPr>
        <p:spPr bwMode="auto">
          <a:xfrm>
            <a:off x="6252344" y="2791011"/>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US" sz="1568" dirty="0">
                <a:solidFill>
                  <a:srgbClr val="505050"/>
                </a:solidFill>
              </a:rPr>
              <a:t>Specific compliance requirements</a:t>
            </a:r>
          </a:p>
        </p:txBody>
      </p:sp>
      <p:sp>
        <p:nvSpPr>
          <p:cNvPr id="134" name="Rectangle 133"/>
          <p:cNvSpPr/>
          <p:nvPr/>
        </p:nvSpPr>
        <p:spPr bwMode="auto">
          <a:xfrm>
            <a:off x="2093410" y="3657577"/>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41" name="Rectangle 140"/>
          <p:cNvSpPr/>
          <p:nvPr/>
        </p:nvSpPr>
        <p:spPr bwMode="auto">
          <a:xfrm>
            <a:off x="2138038" y="3657577"/>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IN" sz="1568" dirty="0">
                <a:solidFill>
                  <a:srgbClr val="505050"/>
                </a:solidFill>
              </a:rPr>
              <a:t>Maximize existing investments by adopting hybrid cloud approach</a:t>
            </a:r>
          </a:p>
        </p:txBody>
      </p:sp>
      <p:sp>
        <p:nvSpPr>
          <p:cNvPr id="153" name="Rectangle 152"/>
          <p:cNvSpPr/>
          <p:nvPr/>
        </p:nvSpPr>
        <p:spPr bwMode="auto">
          <a:xfrm>
            <a:off x="6207716" y="3657577"/>
            <a:ext cx="3890097" cy="806782"/>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588"/>
              </a:spcBef>
            </a:pPr>
            <a:endParaRPr lang="en-US" sz="1568" dirty="0">
              <a:solidFill>
                <a:srgbClr val="505050"/>
              </a:solidFill>
            </a:endParaRPr>
          </a:p>
        </p:txBody>
      </p:sp>
      <p:sp>
        <p:nvSpPr>
          <p:cNvPr id="157" name="Rectangle 156"/>
          <p:cNvSpPr/>
          <p:nvPr/>
        </p:nvSpPr>
        <p:spPr bwMode="auto">
          <a:xfrm>
            <a:off x="6252344" y="3657577"/>
            <a:ext cx="3800841" cy="80678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defTabSz="913844" fontAlgn="b">
              <a:spcBef>
                <a:spcPts val="196"/>
              </a:spcBef>
            </a:pPr>
            <a:r>
              <a:rPr lang="en-US" sz="1568" dirty="0">
                <a:solidFill>
                  <a:srgbClr val="505050"/>
                </a:solidFill>
              </a:rPr>
              <a:t>Specific government oversight requirements</a:t>
            </a:r>
          </a:p>
        </p:txBody>
      </p:sp>
      <p:sp>
        <p:nvSpPr>
          <p:cNvPr id="158" name="Isosceles Triangle 157"/>
          <p:cNvSpPr/>
          <p:nvPr/>
        </p:nvSpPr>
        <p:spPr bwMode="auto">
          <a:xfrm rot="10800000">
            <a:off x="8050405" y="1786824"/>
            <a:ext cx="204722" cy="105955"/>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578" fontAlgn="base">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2" name="Oval 161"/>
          <p:cNvSpPr/>
          <p:nvPr/>
        </p:nvSpPr>
        <p:spPr bwMode="auto">
          <a:xfrm>
            <a:off x="1489251" y="2262845"/>
            <a:ext cx="129972" cy="1299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3" name="Oval 162"/>
          <p:cNvSpPr/>
          <p:nvPr/>
        </p:nvSpPr>
        <p:spPr bwMode="auto">
          <a:xfrm>
            <a:off x="1489251" y="3129416"/>
            <a:ext cx="129972" cy="1299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4" name="Oval 163"/>
          <p:cNvSpPr/>
          <p:nvPr/>
        </p:nvSpPr>
        <p:spPr bwMode="auto">
          <a:xfrm>
            <a:off x="1489251" y="3995982"/>
            <a:ext cx="129972" cy="129972"/>
          </a:xfrm>
          <a:prstGeom prst="ellipse">
            <a:avLst/>
          </a:pr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5" name="Oval 164"/>
          <p:cNvSpPr/>
          <p:nvPr/>
        </p:nvSpPr>
        <p:spPr bwMode="auto">
          <a:xfrm>
            <a:off x="10574921" y="2262845"/>
            <a:ext cx="129972" cy="1299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6" name="Oval 165"/>
          <p:cNvSpPr/>
          <p:nvPr/>
        </p:nvSpPr>
        <p:spPr bwMode="auto">
          <a:xfrm>
            <a:off x="10574921" y="3129416"/>
            <a:ext cx="129972" cy="1299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67" name="Oval 166"/>
          <p:cNvSpPr/>
          <p:nvPr/>
        </p:nvSpPr>
        <p:spPr bwMode="auto">
          <a:xfrm>
            <a:off x="10574921" y="3995982"/>
            <a:ext cx="129972" cy="129972"/>
          </a:xfrm>
          <a:prstGeom prst="ellipse">
            <a:avLst/>
          </a:prstGeom>
          <a:solidFill>
            <a:schemeClr val="accent2"/>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IN"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78" name="Straight Connector 177"/>
          <p:cNvCxnSpPr>
            <a:stCxn id="155" idx="3"/>
            <a:endCxn id="165" idx="2"/>
          </p:cNvCxnSpPr>
          <p:nvPr/>
        </p:nvCxnSpPr>
        <p:spPr>
          <a:xfrm>
            <a:off x="10053185" y="2327831"/>
            <a:ext cx="52173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a:stCxn id="156" idx="3"/>
            <a:endCxn id="166" idx="2"/>
          </p:cNvCxnSpPr>
          <p:nvPr/>
        </p:nvCxnSpPr>
        <p:spPr>
          <a:xfrm>
            <a:off x="10053185" y="3194402"/>
            <a:ext cx="52173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a:stCxn id="157" idx="3"/>
            <a:endCxn id="167" idx="2"/>
          </p:cNvCxnSpPr>
          <p:nvPr/>
        </p:nvCxnSpPr>
        <p:spPr>
          <a:xfrm>
            <a:off x="10053185" y="4060968"/>
            <a:ext cx="521736" cy="0"/>
          </a:xfrm>
          <a:prstGeom prst="line">
            <a:avLst/>
          </a:prstGeom>
          <a:ln w="190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7" name="Freeform 206"/>
          <p:cNvSpPr/>
          <p:nvPr/>
        </p:nvSpPr>
        <p:spPr>
          <a:xfrm>
            <a:off x="813696" y="2078875"/>
            <a:ext cx="494775" cy="497912"/>
          </a:xfrm>
          <a:custGeom>
            <a:avLst/>
            <a:gdLst>
              <a:gd name="connsiteX0" fmla="*/ 435816 w 1153778"/>
              <a:gd name="connsiteY0" fmla="*/ 796408 h 1161098"/>
              <a:gd name="connsiteX1" fmla="*/ 435816 w 1153778"/>
              <a:gd name="connsiteY1" fmla="*/ 1161098 h 1161098"/>
              <a:gd name="connsiteX2" fmla="*/ 239322 w 1153778"/>
              <a:gd name="connsiteY2" fmla="*/ 1161098 h 1161098"/>
              <a:gd name="connsiteX3" fmla="*/ 239322 w 1153778"/>
              <a:gd name="connsiteY3" fmla="*/ 895839 h 1161098"/>
              <a:gd name="connsiteX4" fmla="*/ 0 w 1153778"/>
              <a:gd name="connsiteY4" fmla="*/ 714522 h 1161098"/>
              <a:gd name="connsiteX5" fmla="*/ 129973 w 1153778"/>
              <a:gd name="connsiteY5" fmla="*/ 714522 h 1161098"/>
              <a:gd name="connsiteX6" fmla="*/ 129973 w 1153778"/>
              <a:gd name="connsiteY6" fmla="*/ 781043 h 1161098"/>
              <a:gd name="connsiteX7" fmla="*/ 196494 w 1153778"/>
              <a:gd name="connsiteY7" fmla="*/ 781043 h 1161098"/>
              <a:gd name="connsiteX8" fmla="*/ 196494 w 1153778"/>
              <a:gd name="connsiteY8" fmla="*/ 817412 h 1161098"/>
              <a:gd name="connsiteX9" fmla="*/ 1498 w 1153778"/>
              <a:gd name="connsiteY9" fmla="*/ 916086 h 1161098"/>
              <a:gd name="connsiteX10" fmla="*/ 41824 w 1153778"/>
              <a:gd name="connsiteY10" fmla="*/ 995779 h 1161098"/>
              <a:gd name="connsiteX11" fmla="*/ 196494 w 1153778"/>
              <a:gd name="connsiteY11" fmla="*/ 917511 h 1161098"/>
              <a:gd name="connsiteX12" fmla="*/ 196494 w 1153778"/>
              <a:gd name="connsiteY12" fmla="*/ 1161098 h 1161098"/>
              <a:gd name="connsiteX13" fmla="*/ 0 w 1153778"/>
              <a:gd name="connsiteY13" fmla="*/ 1161098 h 1161098"/>
              <a:gd name="connsiteX14" fmla="*/ 675138 w 1153778"/>
              <a:gd name="connsiteY14" fmla="*/ 675304 h 1161098"/>
              <a:gd name="connsiteX15" fmla="*/ 675138 w 1153778"/>
              <a:gd name="connsiteY15" fmla="*/ 1161098 h 1161098"/>
              <a:gd name="connsiteX16" fmla="*/ 478644 w 1153778"/>
              <a:gd name="connsiteY16" fmla="*/ 1161098 h 1161098"/>
              <a:gd name="connsiteX17" fmla="*/ 478644 w 1153778"/>
              <a:gd name="connsiteY17" fmla="*/ 774735 h 1161098"/>
              <a:gd name="connsiteX18" fmla="*/ 129973 w 1153778"/>
              <a:gd name="connsiteY18" fmla="*/ 648000 h 1161098"/>
              <a:gd name="connsiteX19" fmla="*/ 196494 w 1153778"/>
              <a:gd name="connsiteY19" fmla="*/ 648000 h 1161098"/>
              <a:gd name="connsiteX20" fmla="*/ 196494 w 1153778"/>
              <a:gd name="connsiteY20" fmla="*/ 714522 h 1161098"/>
              <a:gd name="connsiteX21" fmla="*/ 129973 w 1153778"/>
              <a:gd name="connsiteY21" fmla="*/ 714522 h 1161098"/>
              <a:gd name="connsiteX22" fmla="*/ 914459 w 1153778"/>
              <a:gd name="connsiteY22" fmla="*/ 554200 h 1161098"/>
              <a:gd name="connsiteX23" fmla="*/ 914459 w 1153778"/>
              <a:gd name="connsiteY23" fmla="*/ 1161098 h 1161098"/>
              <a:gd name="connsiteX24" fmla="*/ 717966 w 1153778"/>
              <a:gd name="connsiteY24" fmla="*/ 1161098 h 1161098"/>
              <a:gd name="connsiteX25" fmla="*/ 717966 w 1153778"/>
              <a:gd name="connsiteY25" fmla="*/ 653631 h 1161098"/>
              <a:gd name="connsiteX26" fmla="*/ 239322 w 1153778"/>
              <a:gd name="connsiteY26" fmla="*/ 535891 h 1161098"/>
              <a:gd name="connsiteX27" fmla="*/ 435816 w 1153778"/>
              <a:gd name="connsiteY27" fmla="*/ 535891 h 1161098"/>
              <a:gd name="connsiteX28" fmla="*/ 435816 w 1153778"/>
              <a:gd name="connsiteY28" fmla="*/ 696308 h 1161098"/>
              <a:gd name="connsiteX29" fmla="*/ 239322 w 1153778"/>
              <a:gd name="connsiteY29" fmla="*/ 795740 h 1161098"/>
              <a:gd name="connsiteX30" fmla="*/ 478644 w 1153778"/>
              <a:gd name="connsiteY30" fmla="*/ 357261 h 1161098"/>
              <a:gd name="connsiteX31" fmla="*/ 675138 w 1153778"/>
              <a:gd name="connsiteY31" fmla="*/ 357261 h 1161098"/>
              <a:gd name="connsiteX32" fmla="*/ 675138 w 1153778"/>
              <a:gd name="connsiteY32" fmla="*/ 575204 h 1161098"/>
              <a:gd name="connsiteX33" fmla="*/ 478644 w 1153778"/>
              <a:gd name="connsiteY33" fmla="*/ 674636 h 1161098"/>
              <a:gd name="connsiteX34" fmla="*/ 717966 w 1153778"/>
              <a:gd name="connsiteY34" fmla="*/ 178631 h 1161098"/>
              <a:gd name="connsiteX35" fmla="*/ 914459 w 1153778"/>
              <a:gd name="connsiteY35" fmla="*/ 178631 h 1161098"/>
              <a:gd name="connsiteX36" fmla="*/ 914459 w 1153778"/>
              <a:gd name="connsiteY36" fmla="*/ 454100 h 1161098"/>
              <a:gd name="connsiteX37" fmla="*/ 717966 w 1153778"/>
              <a:gd name="connsiteY37" fmla="*/ 553532 h 1161098"/>
              <a:gd name="connsiteX38" fmla="*/ 957285 w 1153778"/>
              <a:gd name="connsiteY38" fmla="*/ 0 h 1161098"/>
              <a:gd name="connsiteX39" fmla="*/ 1153778 w 1153778"/>
              <a:gd name="connsiteY39" fmla="*/ 0 h 1161098"/>
              <a:gd name="connsiteX40" fmla="*/ 1153778 w 1153778"/>
              <a:gd name="connsiteY40" fmla="*/ 1161098 h 1161098"/>
              <a:gd name="connsiteX41" fmla="*/ 957285 w 1153778"/>
              <a:gd name="connsiteY41" fmla="*/ 1161098 h 1161098"/>
              <a:gd name="connsiteX42" fmla="*/ 957285 w 1153778"/>
              <a:gd name="connsiteY42" fmla="*/ 532529 h 1161098"/>
              <a:gd name="connsiteX43" fmla="*/ 1077833 w 1153778"/>
              <a:gd name="connsiteY43" fmla="*/ 471529 h 1161098"/>
              <a:gd name="connsiteX44" fmla="*/ 1097996 w 1153778"/>
              <a:gd name="connsiteY44" fmla="*/ 511375 h 1161098"/>
              <a:gd name="connsiteX45" fmla="*/ 1137362 w 1153778"/>
              <a:gd name="connsiteY45" fmla="*/ 391355 h 1161098"/>
              <a:gd name="connsiteX46" fmla="*/ 1017342 w 1153778"/>
              <a:gd name="connsiteY46" fmla="*/ 351989 h 1161098"/>
              <a:gd name="connsiteX47" fmla="*/ 1037505 w 1153778"/>
              <a:gd name="connsiteY47" fmla="*/ 391835 h 1161098"/>
              <a:gd name="connsiteX48" fmla="*/ 957285 w 1153778"/>
              <a:gd name="connsiteY48" fmla="*/ 432430 h 116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53778" h="1161098">
                <a:moveTo>
                  <a:pt x="435816" y="796408"/>
                </a:moveTo>
                <a:lnTo>
                  <a:pt x="435816" y="1161098"/>
                </a:lnTo>
                <a:lnTo>
                  <a:pt x="239322" y="1161098"/>
                </a:lnTo>
                <a:lnTo>
                  <a:pt x="239322" y="895839"/>
                </a:lnTo>
                <a:close/>
                <a:moveTo>
                  <a:pt x="0" y="714522"/>
                </a:moveTo>
                <a:lnTo>
                  <a:pt x="129973" y="714522"/>
                </a:lnTo>
                <a:lnTo>
                  <a:pt x="129973" y="781043"/>
                </a:lnTo>
                <a:lnTo>
                  <a:pt x="196494" y="781043"/>
                </a:lnTo>
                <a:lnTo>
                  <a:pt x="196494" y="817412"/>
                </a:lnTo>
                <a:lnTo>
                  <a:pt x="1498" y="916086"/>
                </a:lnTo>
                <a:lnTo>
                  <a:pt x="41824" y="995779"/>
                </a:lnTo>
                <a:lnTo>
                  <a:pt x="196494" y="917511"/>
                </a:lnTo>
                <a:lnTo>
                  <a:pt x="196494" y="1161098"/>
                </a:lnTo>
                <a:lnTo>
                  <a:pt x="0" y="1161098"/>
                </a:lnTo>
                <a:close/>
                <a:moveTo>
                  <a:pt x="675138" y="675304"/>
                </a:moveTo>
                <a:lnTo>
                  <a:pt x="675138" y="1161098"/>
                </a:lnTo>
                <a:lnTo>
                  <a:pt x="478644" y="1161098"/>
                </a:lnTo>
                <a:lnTo>
                  <a:pt x="478644" y="774735"/>
                </a:lnTo>
                <a:close/>
                <a:moveTo>
                  <a:pt x="129973" y="648000"/>
                </a:moveTo>
                <a:lnTo>
                  <a:pt x="196494" y="648000"/>
                </a:lnTo>
                <a:lnTo>
                  <a:pt x="196494" y="714522"/>
                </a:lnTo>
                <a:lnTo>
                  <a:pt x="129973" y="714522"/>
                </a:lnTo>
                <a:close/>
                <a:moveTo>
                  <a:pt x="914459" y="554200"/>
                </a:moveTo>
                <a:lnTo>
                  <a:pt x="914459" y="1161098"/>
                </a:lnTo>
                <a:lnTo>
                  <a:pt x="717966" y="1161098"/>
                </a:lnTo>
                <a:lnTo>
                  <a:pt x="717966" y="653631"/>
                </a:lnTo>
                <a:close/>
                <a:moveTo>
                  <a:pt x="239322" y="535891"/>
                </a:moveTo>
                <a:lnTo>
                  <a:pt x="435816" y="535891"/>
                </a:lnTo>
                <a:lnTo>
                  <a:pt x="435816" y="696308"/>
                </a:lnTo>
                <a:lnTo>
                  <a:pt x="239322" y="795740"/>
                </a:lnTo>
                <a:close/>
                <a:moveTo>
                  <a:pt x="478644" y="357261"/>
                </a:moveTo>
                <a:lnTo>
                  <a:pt x="675138" y="357261"/>
                </a:lnTo>
                <a:lnTo>
                  <a:pt x="675138" y="575204"/>
                </a:lnTo>
                <a:lnTo>
                  <a:pt x="478644" y="674636"/>
                </a:lnTo>
                <a:close/>
                <a:moveTo>
                  <a:pt x="717966" y="178631"/>
                </a:moveTo>
                <a:lnTo>
                  <a:pt x="914459" y="178631"/>
                </a:lnTo>
                <a:lnTo>
                  <a:pt x="914459" y="454100"/>
                </a:lnTo>
                <a:lnTo>
                  <a:pt x="717966" y="553532"/>
                </a:lnTo>
                <a:close/>
                <a:moveTo>
                  <a:pt x="957285" y="0"/>
                </a:moveTo>
                <a:lnTo>
                  <a:pt x="1153778" y="0"/>
                </a:lnTo>
                <a:lnTo>
                  <a:pt x="1153778" y="1161098"/>
                </a:lnTo>
                <a:lnTo>
                  <a:pt x="957285" y="1161098"/>
                </a:lnTo>
                <a:lnTo>
                  <a:pt x="957285" y="532529"/>
                </a:lnTo>
                <a:lnTo>
                  <a:pt x="1077833" y="471529"/>
                </a:lnTo>
                <a:lnTo>
                  <a:pt x="1097996" y="511375"/>
                </a:lnTo>
                <a:lnTo>
                  <a:pt x="1137362" y="391355"/>
                </a:lnTo>
                <a:lnTo>
                  <a:pt x="1017342" y="351989"/>
                </a:lnTo>
                <a:lnTo>
                  <a:pt x="1037505" y="391835"/>
                </a:lnTo>
                <a:lnTo>
                  <a:pt x="957285" y="43243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89642" rIns="89642" bIns="89642" numCol="1" spcCol="0" rtlCol="0" fromWordArt="0" anchor="b" anchorCtr="0" forceAA="0" compatLnSpc="1">
            <a:prstTxWarp prst="textNoShape">
              <a:avLst/>
            </a:prstTxWarp>
            <a:noAutofit/>
          </a:bodyPr>
          <a:lstStyle/>
          <a:p>
            <a:pPr algn="r" defTabSz="913844"/>
            <a:endParaRPr lang="en-US" sz="1176" dirty="0" err="1">
              <a:solidFill>
                <a:srgbClr val="FFFFFF"/>
              </a:solidFill>
            </a:endParaRPr>
          </a:p>
        </p:txBody>
      </p:sp>
      <p:sp>
        <p:nvSpPr>
          <p:cNvPr id="208" name="Freeform 207"/>
          <p:cNvSpPr/>
          <p:nvPr/>
        </p:nvSpPr>
        <p:spPr>
          <a:xfrm>
            <a:off x="785458" y="2975219"/>
            <a:ext cx="551252" cy="438366"/>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accent1"/>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12" name="Freeform 164"/>
          <p:cNvSpPr>
            <a:spLocks noEditPoints="1"/>
          </p:cNvSpPr>
          <p:nvPr/>
        </p:nvSpPr>
        <p:spPr bwMode="black">
          <a:xfrm>
            <a:off x="10938238" y="2064207"/>
            <a:ext cx="380202" cy="527250"/>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accent2"/>
          </a:solidFill>
          <a:ln>
            <a:noFill/>
          </a:ln>
          <a:extLst/>
        </p:spPr>
        <p:txBody>
          <a:bodyPr vert="horz" wrap="square" lIns="134464" tIns="89642" rIns="134464" bIns="89642" numCol="1" anchor="t" anchorCtr="0" compatLnSpc="1">
            <a:prstTxWarp prst="textNoShape">
              <a:avLst/>
            </a:prstTxWarp>
          </a:bodyPr>
          <a:lstStyle/>
          <a:p>
            <a:pPr defTabSz="913844"/>
            <a:endParaRPr lang="en-US" sz="2059" dirty="0">
              <a:ln>
                <a:solidFill>
                  <a:srgbClr val="FFFFFF">
                    <a:alpha val="0"/>
                  </a:srgbClr>
                </a:solidFill>
              </a:ln>
              <a:solidFill>
                <a:srgbClr val="000000"/>
              </a:solidFill>
            </a:endParaRPr>
          </a:p>
        </p:txBody>
      </p:sp>
      <p:sp>
        <p:nvSpPr>
          <p:cNvPr id="221" name="Freeform 220"/>
          <p:cNvSpPr/>
          <p:nvPr/>
        </p:nvSpPr>
        <p:spPr>
          <a:xfrm>
            <a:off x="763367" y="3882297"/>
            <a:ext cx="595432" cy="357344"/>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44"/>
            <a:endParaRPr lang="en-US" sz="1765" dirty="0">
              <a:solidFill>
                <a:srgbClr val="FFFFFF"/>
              </a:solidFill>
            </a:endParaRPr>
          </a:p>
        </p:txBody>
      </p:sp>
      <p:sp>
        <p:nvSpPr>
          <p:cNvPr id="222" name="Freeform 221"/>
          <p:cNvSpPr>
            <a:spLocks noEditPoints="1"/>
          </p:cNvSpPr>
          <p:nvPr/>
        </p:nvSpPr>
        <p:spPr bwMode="black">
          <a:xfrm>
            <a:off x="10845849" y="3778552"/>
            <a:ext cx="564980" cy="56483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87" tIns="40344" rIns="80687" bIns="40344"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68">
              <a:solidFill>
                <a:srgbClr val="000000"/>
              </a:solidFill>
            </a:endParaRPr>
          </a:p>
        </p:txBody>
      </p:sp>
      <p:sp>
        <p:nvSpPr>
          <p:cNvPr id="231" name="Freeform 230"/>
          <p:cNvSpPr/>
          <p:nvPr/>
        </p:nvSpPr>
        <p:spPr bwMode="auto">
          <a:xfrm>
            <a:off x="10857855" y="2941044"/>
            <a:ext cx="540969" cy="506717"/>
          </a:xfrm>
          <a:custGeom>
            <a:avLst/>
            <a:gdLst>
              <a:gd name="connsiteX0" fmla="*/ 0 w 1389531"/>
              <a:gd name="connsiteY0" fmla="*/ 30723 h 1301551"/>
              <a:gd name="connsiteX1" fmla="*/ 123359 w 1389531"/>
              <a:gd name="connsiteY1" fmla="*/ 30723 h 1301551"/>
              <a:gd name="connsiteX2" fmla="*/ 123359 w 1389531"/>
              <a:gd name="connsiteY2" fmla="*/ 1177093 h 1301551"/>
              <a:gd name="connsiteX3" fmla="*/ 1389531 w 1389531"/>
              <a:gd name="connsiteY3" fmla="*/ 1177093 h 1301551"/>
              <a:gd name="connsiteX4" fmla="*/ 1389531 w 1389531"/>
              <a:gd name="connsiteY4" fmla="*/ 1301551 h 1301551"/>
              <a:gd name="connsiteX5" fmla="*/ 0 w 1389531"/>
              <a:gd name="connsiteY5" fmla="*/ 1301551 h 1301551"/>
              <a:gd name="connsiteX6" fmla="*/ 1240104 w 1389531"/>
              <a:gd name="connsiteY6" fmla="*/ 0 h 1301551"/>
              <a:gd name="connsiteX7" fmla="*/ 1228932 w 1389531"/>
              <a:gd name="connsiteY7" fmla="*/ 337025 h 1301551"/>
              <a:gd name="connsiteX8" fmla="*/ 1158175 w 1389531"/>
              <a:gd name="connsiteY8" fmla="*/ 230890 h 1301551"/>
              <a:gd name="connsiteX9" fmla="*/ 929147 w 1389531"/>
              <a:gd name="connsiteY9" fmla="*/ 543709 h 1301551"/>
              <a:gd name="connsiteX10" fmla="*/ 670327 w 1389531"/>
              <a:gd name="connsiteY10" fmla="*/ 543709 h 1301551"/>
              <a:gd name="connsiteX11" fmla="*/ 569778 w 1389531"/>
              <a:gd name="connsiteY11" fmla="*/ 1133969 h 1301551"/>
              <a:gd name="connsiteX12" fmla="*/ 420817 w 1389531"/>
              <a:gd name="connsiteY12" fmla="*/ 921699 h 1301551"/>
              <a:gd name="connsiteX13" fmla="*/ 243925 w 1389531"/>
              <a:gd name="connsiteY13" fmla="*/ 1102315 h 1301551"/>
              <a:gd name="connsiteX14" fmla="*/ 163858 w 1389531"/>
              <a:gd name="connsiteY14" fmla="*/ 1022248 h 1301551"/>
              <a:gd name="connsiteX15" fmla="*/ 439437 w 1389531"/>
              <a:gd name="connsiteY15" fmla="*/ 754117 h 1301551"/>
              <a:gd name="connsiteX16" fmla="*/ 508331 w 1389531"/>
              <a:gd name="connsiteY16" fmla="*/ 856528 h 1301551"/>
              <a:gd name="connsiteX17" fmla="*/ 580950 w 1389531"/>
              <a:gd name="connsiteY17" fmla="*/ 439436 h 1301551"/>
              <a:gd name="connsiteX18" fmla="*/ 878873 w 1389531"/>
              <a:gd name="connsiteY18" fmla="*/ 435712 h 1301551"/>
              <a:gd name="connsiteX19" fmla="*/ 1074385 w 1389531"/>
              <a:gd name="connsiteY19" fmla="*/ 167582 h 1301551"/>
              <a:gd name="connsiteX20" fmla="*/ 932871 w 1389531"/>
              <a:gd name="connsiteY20" fmla="*/ 143376 h 130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9531" h="1301551">
                <a:moveTo>
                  <a:pt x="0" y="30723"/>
                </a:moveTo>
                <a:lnTo>
                  <a:pt x="123359" y="30723"/>
                </a:lnTo>
                <a:lnTo>
                  <a:pt x="123359" y="1177093"/>
                </a:lnTo>
                <a:lnTo>
                  <a:pt x="1389531" y="1177093"/>
                </a:lnTo>
                <a:lnTo>
                  <a:pt x="1389531" y="1301551"/>
                </a:lnTo>
                <a:lnTo>
                  <a:pt x="0" y="1301551"/>
                </a:lnTo>
                <a:close/>
                <a:moveTo>
                  <a:pt x="1240104" y="0"/>
                </a:moveTo>
                <a:lnTo>
                  <a:pt x="1228932" y="337025"/>
                </a:lnTo>
                <a:lnTo>
                  <a:pt x="1158175" y="230890"/>
                </a:lnTo>
                <a:lnTo>
                  <a:pt x="929147" y="543709"/>
                </a:lnTo>
                <a:lnTo>
                  <a:pt x="670327" y="543709"/>
                </a:lnTo>
                <a:lnTo>
                  <a:pt x="569778" y="1133969"/>
                </a:lnTo>
                <a:lnTo>
                  <a:pt x="420817" y="921699"/>
                </a:lnTo>
                <a:lnTo>
                  <a:pt x="243925" y="1102315"/>
                </a:lnTo>
                <a:lnTo>
                  <a:pt x="163858" y="1022248"/>
                </a:lnTo>
                <a:lnTo>
                  <a:pt x="439437" y="754117"/>
                </a:lnTo>
                <a:lnTo>
                  <a:pt x="508331" y="856528"/>
                </a:lnTo>
                <a:lnTo>
                  <a:pt x="580950" y="439436"/>
                </a:lnTo>
                <a:lnTo>
                  <a:pt x="878873" y="435712"/>
                </a:lnTo>
                <a:lnTo>
                  <a:pt x="1074385" y="167582"/>
                </a:lnTo>
                <a:lnTo>
                  <a:pt x="932871" y="143376"/>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42" tIns="44821" rIns="44821" bIns="8964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091" fontAlgn="base">
              <a:spcBef>
                <a:spcPct val="0"/>
              </a:spcBef>
              <a:spcAft>
                <a:spcPct val="0"/>
              </a:spcAft>
            </a:pPr>
            <a:endParaRPr lang="en-US" sz="1765" spc="-4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Footer Placeholder 1"/>
          <p:cNvSpPr>
            <a:spLocks noGrp="1"/>
          </p:cNvSpPr>
          <p:nvPr>
            <p:ph type="ftr" sz="quarter" idx="10"/>
          </p:nvPr>
        </p:nvSpPr>
        <p:spPr/>
        <p:txBody>
          <a:bodyPr/>
          <a:lstStyle/>
          <a:p>
            <a:r>
              <a:rPr smtClean="0">
                <a:solidFill>
                  <a:srgbClr val="FFFFFF"/>
                </a:solidFill>
              </a:rPr>
              <a:t>Microsoft Confidential - INTERNAL ONLY</a:t>
            </a:r>
            <a:endParaRPr>
              <a:solidFill>
                <a:srgbClr val="FFFFFF"/>
              </a:solidFill>
            </a:endParaRPr>
          </a:p>
        </p:txBody>
      </p:sp>
      <p:sp>
        <p:nvSpPr>
          <p:cNvPr id="3" name="Slide Number Placeholder 2"/>
          <p:cNvSpPr>
            <a:spLocks noGrp="1"/>
          </p:cNvSpPr>
          <p:nvPr>
            <p:ph type="sldNum" sz="quarter" idx="11"/>
          </p:nvPr>
        </p:nvSpPr>
        <p:spPr/>
        <p:txBody>
          <a:bodyPr/>
          <a:lstStyle/>
          <a:p>
            <a:fld id="{27258FFF-F925-446B-8502-81C933981705}" type="slidenum">
              <a:rPr>
                <a:solidFill>
                  <a:srgbClr val="FFFFFF"/>
                </a:solidFill>
              </a:rPr>
              <a:pPr/>
              <a:t>8</a:t>
            </a:fld>
            <a:endParaRPr>
              <a:solidFill>
                <a:srgbClr val="FFFFFF"/>
              </a:solidFill>
            </a:endParaRPr>
          </a:p>
        </p:txBody>
      </p:sp>
    </p:spTree>
    <p:extLst>
      <p:ext uri="{BB962C8B-B14F-4D97-AF65-F5344CB8AC3E}">
        <p14:creationId xmlns:p14="http://schemas.microsoft.com/office/powerpoint/2010/main" val="2088112804"/>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3714" y="260242"/>
            <a:ext cx="11065357" cy="1075731"/>
          </a:xfrm>
        </p:spPr>
        <p:txBody>
          <a:bodyPr/>
          <a:lstStyle/>
          <a:p>
            <a:pPr>
              <a:lnSpc>
                <a:spcPct val="100000"/>
              </a:lnSpc>
              <a:spcBef>
                <a:spcPts val="0"/>
              </a:spcBef>
              <a:spcAft>
                <a:spcPts val="588"/>
              </a:spcAft>
            </a:pPr>
            <a:r>
              <a:rPr lang="en-US" dirty="0" smtClean="0"/>
              <a:t>Introducing Microsoft Azure Government</a:t>
            </a:r>
            <a:br>
              <a:rPr lang="en-US" dirty="0" smtClean="0"/>
            </a:br>
            <a:r>
              <a:rPr lang="en-US" sz="1961" spc="0" dirty="0">
                <a:solidFill>
                  <a:schemeClr val="tx2"/>
                </a:solidFill>
                <a:latin typeface="Segoe UI Semibold" panose="020B0702040204020203" pitchFamily="34" charset="0"/>
                <a:cs typeface="Segoe UI Semibold" panose="020B0702040204020203" pitchFamily="34" charset="0"/>
              </a:rPr>
              <a:t>A government-community cloud </a:t>
            </a:r>
            <a:r>
              <a:rPr lang="en-US" sz="1961" spc="0" dirty="0">
                <a:solidFill>
                  <a:schemeClr val="tx2"/>
                </a:solidFill>
              </a:rPr>
              <a:t>that extends </a:t>
            </a:r>
            <a:r>
              <a:rPr lang="en-IN" sz="1961" spc="0" dirty="0">
                <a:ln>
                  <a:noFill/>
                </a:ln>
                <a:solidFill>
                  <a:schemeClr val="tx2"/>
                </a:solidFill>
              </a:rPr>
              <a:t>world-class security and control for dedicated U.S. Public</a:t>
            </a:r>
            <a:r>
              <a:rPr lang="en-US" sz="1961" spc="0" dirty="0">
                <a:solidFill>
                  <a:schemeClr val="tx2"/>
                </a:solidFill>
              </a:rPr>
              <a:t> Sector workloads.</a:t>
            </a:r>
            <a:endParaRPr lang="en-IN" spc="0" dirty="0">
              <a:solidFill>
                <a:schemeClr val="tx2"/>
              </a:solidFill>
            </a:endParaRPr>
          </a:p>
        </p:txBody>
      </p:sp>
      <p:grpSp>
        <p:nvGrpSpPr>
          <p:cNvPr id="19" name="Group 18"/>
          <p:cNvGrpSpPr/>
          <p:nvPr/>
        </p:nvGrpSpPr>
        <p:grpSpPr>
          <a:xfrm>
            <a:off x="577484" y="4002313"/>
            <a:ext cx="11052057" cy="729412"/>
            <a:chOff x="579438" y="4146395"/>
            <a:chExt cx="11273674" cy="744038"/>
          </a:xfrm>
        </p:grpSpPr>
        <p:sp>
          <p:nvSpPr>
            <p:cNvPr id="14" name="Rectangle 13"/>
            <p:cNvSpPr/>
            <p:nvPr/>
          </p:nvSpPr>
          <p:spPr bwMode="auto">
            <a:xfrm>
              <a:off x="579438" y="4146395"/>
              <a:ext cx="11273674" cy="744038"/>
            </a:xfrm>
            <a:prstGeom prst="rect">
              <a:avLst/>
            </a:prstGeom>
            <a:solidFill>
              <a:schemeClr val="accent4"/>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15" name="TextBox 14"/>
            <p:cNvSpPr txBox="1"/>
            <p:nvPr/>
          </p:nvSpPr>
          <p:spPr>
            <a:xfrm>
              <a:off x="1693669" y="4146395"/>
              <a:ext cx="10079982" cy="744038"/>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13844"/>
              <a:r>
                <a:rPr lang="en-US" sz="1765" dirty="0">
                  <a:solidFill>
                    <a:srgbClr val="505050"/>
                  </a:solidFill>
                </a:rPr>
                <a:t>Delivers integrated, familiar experiences with Office 365 for Government in the cloud</a:t>
              </a:r>
              <a:r>
                <a:rPr lang="en-IN" sz="1765" dirty="0">
                  <a:solidFill>
                    <a:srgbClr val="505050"/>
                  </a:solidFill>
                </a:rPr>
                <a:t>.</a:t>
              </a:r>
              <a:endParaRPr lang="en-US" sz="1765" dirty="0">
                <a:solidFill>
                  <a:srgbClr val="505050"/>
                </a:solidFill>
              </a:endParaRPr>
            </a:p>
          </p:txBody>
        </p:sp>
        <p:grpSp>
          <p:nvGrpSpPr>
            <p:cNvPr id="18" name="Group 17"/>
            <p:cNvGrpSpPr/>
            <p:nvPr/>
          </p:nvGrpSpPr>
          <p:grpSpPr>
            <a:xfrm>
              <a:off x="710228" y="4272660"/>
              <a:ext cx="884431" cy="491512"/>
              <a:chOff x="820035" y="4140197"/>
              <a:chExt cx="1028542" cy="571599"/>
            </a:xfrm>
          </p:grpSpPr>
          <p:sp>
            <p:nvSpPr>
              <p:cNvPr id="64" name="Freeform 63"/>
              <p:cNvSpPr/>
              <p:nvPr/>
            </p:nvSpPr>
            <p:spPr>
              <a:xfrm>
                <a:off x="820035" y="4140197"/>
                <a:ext cx="1028542" cy="571599"/>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44"/>
                <a:endParaRPr lang="en-US" sz="1765">
                  <a:solidFill>
                    <a:srgbClr val="FFFFFF"/>
                  </a:solidFill>
                </a:endParaRPr>
              </a:p>
            </p:txBody>
          </p:sp>
          <p:sp>
            <p:nvSpPr>
              <p:cNvPr id="66" name="Freeform 65"/>
              <p:cNvSpPr/>
              <p:nvPr/>
            </p:nvSpPr>
            <p:spPr>
              <a:xfrm>
                <a:off x="1102595" y="4277074"/>
                <a:ext cx="463422" cy="368522"/>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accent4"/>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5578" fontAlgn="base">
                  <a:spcBef>
                    <a:spcPct val="0"/>
                  </a:spcBef>
                  <a:spcAft>
                    <a:spcPct val="0"/>
                  </a:spcAft>
                </a:pPr>
                <a:endParaRPr lang="en-US" sz="1765" dirty="0" err="1">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7" name="Group 16"/>
          <p:cNvGrpSpPr/>
          <p:nvPr/>
        </p:nvGrpSpPr>
        <p:grpSpPr>
          <a:xfrm>
            <a:off x="577484" y="4794786"/>
            <a:ext cx="11052057" cy="729412"/>
            <a:chOff x="579438" y="4954759"/>
            <a:chExt cx="11273674" cy="744038"/>
          </a:xfrm>
        </p:grpSpPr>
        <p:sp>
          <p:nvSpPr>
            <p:cNvPr id="8" name="Rectangle 7"/>
            <p:cNvSpPr/>
            <p:nvPr/>
          </p:nvSpPr>
          <p:spPr bwMode="auto">
            <a:xfrm>
              <a:off x="579438" y="4954759"/>
              <a:ext cx="11273674" cy="744038"/>
            </a:xfrm>
            <a:prstGeom prst="rect">
              <a:avLst/>
            </a:prstGeom>
            <a:solidFill>
              <a:schemeClr val="accent5"/>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9" name="TextBox 8"/>
            <p:cNvSpPr txBox="1"/>
            <p:nvPr/>
          </p:nvSpPr>
          <p:spPr>
            <a:xfrm>
              <a:off x="1693669" y="4954759"/>
              <a:ext cx="10079982" cy="744038"/>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13844"/>
              <a:r>
                <a:rPr lang="en-US" sz="1765" dirty="0">
                  <a:solidFill>
                    <a:srgbClr val="505050"/>
                  </a:solidFill>
                </a:rPr>
                <a:t>Stores data within the United States</a:t>
              </a:r>
              <a:r>
                <a:rPr lang="en-IN" sz="1765" dirty="0">
                  <a:solidFill>
                    <a:srgbClr val="505050"/>
                  </a:solidFill>
                </a:rPr>
                <a:t>.</a:t>
              </a:r>
              <a:endParaRPr lang="en-US" sz="1765" dirty="0">
                <a:solidFill>
                  <a:srgbClr val="505050"/>
                </a:solidFill>
              </a:endParaRPr>
            </a:p>
          </p:txBody>
        </p:sp>
        <p:grpSp>
          <p:nvGrpSpPr>
            <p:cNvPr id="16" name="Group 15"/>
            <p:cNvGrpSpPr/>
            <p:nvPr/>
          </p:nvGrpSpPr>
          <p:grpSpPr>
            <a:xfrm>
              <a:off x="719938" y="5092121"/>
              <a:ext cx="844501" cy="469321"/>
              <a:chOff x="679618" y="4934306"/>
              <a:chExt cx="1149135" cy="638617"/>
            </a:xfrm>
          </p:grpSpPr>
          <p:sp>
            <p:nvSpPr>
              <p:cNvPr id="69" name="Freeform 68"/>
              <p:cNvSpPr/>
              <p:nvPr/>
            </p:nvSpPr>
            <p:spPr>
              <a:xfrm>
                <a:off x="679618" y="4934306"/>
                <a:ext cx="1149135" cy="638617"/>
              </a:xfrm>
              <a:custGeom>
                <a:avLst/>
                <a:gdLst>
                  <a:gd name="connsiteX0" fmla="*/ 1899343 w 4528033"/>
                  <a:gd name="connsiteY0" fmla="*/ 0 h 2516401"/>
                  <a:gd name="connsiteX1" fmla="*/ 2893690 w 4528033"/>
                  <a:gd name="connsiteY1" fmla="*/ 659097 h 2516401"/>
                  <a:gd name="connsiteX2" fmla="*/ 2931746 w 4528033"/>
                  <a:gd name="connsiteY2" fmla="*/ 781695 h 2516401"/>
                  <a:gd name="connsiteX3" fmla="*/ 2987284 w 4528033"/>
                  <a:gd name="connsiteY3" fmla="*/ 761368 h 2516401"/>
                  <a:gd name="connsiteX4" fmla="*/ 3232180 w 4528033"/>
                  <a:gd name="connsiteY4" fmla="*/ 724343 h 2516401"/>
                  <a:gd name="connsiteX5" fmla="*/ 4038989 w 4528033"/>
                  <a:gd name="connsiteY5" fmla="*/ 1381911 h 2516401"/>
                  <a:gd name="connsiteX6" fmla="*/ 4045075 w 4528033"/>
                  <a:gd name="connsiteY6" fmla="*/ 1442284 h 2516401"/>
                  <a:gd name="connsiteX7" fmla="*/ 4096918 w 4528033"/>
                  <a:gd name="connsiteY7" fmla="*/ 1447511 h 2516401"/>
                  <a:gd name="connsiteX8" fmla="*/ 4528033 w 4528033"/>
                  <a:gd name="connsiteY8" fmla="*/ 1976471 h 2516401"/>
                  <a:gd name="connsiteX9" fmla="*/ 4096918 w 4528033"/>
                  <a:gd name="connsiteY9" fmla="*/ 2505432 h 2516401"/>
                  <a:gd name="connsiteX10" fmla="*/ 4003199 w 4528033"/>
                  <a:gd name="connsiteY10" fmla="*/ 2514879 h 2516401"/>
                  <a:gd name="connsiteX11" fmla="*/ 4003199 w 4528033"/>
                  <a:gd name="connsiteY11" fmla="*/ 2516400 h 2516401"/>
                  <a:gd name="connsiteX12" fmla="*/ 3988113 w 4528033"/>
                  <a:gd name="connsiteY12" fmla="*/ 2516400 h 2516401"/>
                  <a:gd name="connsiteX13" fmla="*/ 3988103 w 4528033"/>
                  <a:gd name="connsiteY13" fmla="*/ 2516401 h 2516401"/>
                  <a:gd name="connsiteX14" fmla="*/ 3988094 w 4528033"/>
                  <a:gd name="connsiteY14" fmla="*/ 2516400 h 2516401"/>
                  <a:gd name="connsiteX15" fmla="*/ 838799 w 4528033"/>
                  <a:gd name="connsiteY15" fmla="*/ 2516400 h 2516401"/>
                  <a:gd name="connsiteX16" fmla="*/ 820191 w 4528033"/>
                  <a:gd name="connsiteY16" fmla="*/ 2516400 h 2516401"/>
                  <a:gd name="connsiteX17" fmla="*/ 820191 w 4528033"/>
                  <a:gd name="connsiteY17" fmla="*/ 2515460 h 2516401"/>
                  <a:gd name="connsiteX18" fmla="*/ 753037 w 4528033"/>
                  <a:gd name="connsiteY18" fmla="*/ 2512069 h 2516401"/>
                  <a:gd name="connsiteX19" fmla="*/ 0 w 4528033"/>
                  <a:gd name="connsiteY19" fmla="*/ 1677600 h 2516401"/>
                  <a:gd name="connsiteX20" fmla="*/ 838799 w 4528033"/>
                  <a:gd name="connsiteY20" fmla="*/ 838800 h 2516401"/>
                  <a:gd name="connsiteX21" fmla="*/ 848975 w 4528033"/>
                  <a:gd name="connsiteY21" fmla="*/ 839570 h 2516401"/>
                  <a:gd name="connsiteX22" fmla="*/ 904996 w 4528033"/>
                  <a:gd name="connsiteY22" fmla="*/ 659097 h 2516401"/>
                  <a:gd name="connsiteX23" fmla="*/ 1899343 w 4528033"/>
                  <a:gd name="connsiteY23" fmla="*/ 0 h 2516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28033" h="2516401">
                    <a:moveTo>
                      <a:pt x="1899343" y="0"/>
                    </a:moveTo>
                    <a:cubicBezTo>
                      <a:pt x="2346343" y="0"/>
                      <a:pt x="2729866" y="271774"/>
                      <a:pt x="2893690" y="659097"/>
                    </a:cubicBezTo>
                    <a:lnTo>
                      <a:pt x="2931746" y="781695"/>
                    </a:lnTo>
                    <a:lnTo>
                      <a:pt x="2987284" y="761368"/>
                    </a:lnTo>
                    <a:cubicBezTo>
                      <a:pt x="3064647" y="737305"/>
                      <a:pt x="3146900" y="724343"/>
                      <a:pt x="3232180" y="724343"/>
                    </a:cubicBezTo>
                    <a:cubicBezTo>
                      <a:pt x="3630156" y="724343"/>
                      <a:pt x="3962197" y="1006638"/>
                      <a:pt x="4038989" y="1381911"/>
                    </a:cubicBezTo>
                    <a:lnTo>
                      <a:pt x="4045075" y="1442284"/>
                    </a:lnTo>
                    <a:lnTo>
                      <a:pt x="4096918" y="1447511"/>
                    </a:lnTo>
                    <a:cubicBezTo>
                      <a:pt x="4342955" y="1497857"/>
                      <a:pt x="4528033" y="1715550"/>
                      <a:pt x="4528033" y="1976471"/>
                    </a:cubicBezTo>
                    <a:cubicBezTo>
                      <a:pt x="4528033" y="2237392"/>
                      <a:pt x="4342955" y="2455085"/>
                      <a:pt x="4096918" y="2505432"/>
                    </a:cubicBezTo>
                    <a:lnTo>
                      <a:pt x="4003199" y="2514879"/>
                    </a:lnTo>
                    <a:lnTo>
                      <a:pt x="4003199" y="2516400"/>
                    </a:lnTo>
                    <a:lnTo>
                      <a:pt x="3988113" y="2516400"/>
                    </a:lnTo>
                    <a:lnTo>
                      <a:pt x="3988103" y="2516401"/>
                    </a:lnTo>
                    <a:lnTo>
                      <a:pt x="3988094" y="2516400"/>
                    </a:lnTo>
                    <a:lnTo>
                      <a:pt x="838799" y="2516400"/>
                    </a:lnTo>
                    <a:lnTo>
                      <a:pt x="820191" y="2516400"/>
                    </a:lnTo>
                    <a:lnTo>
                      <a:pt x="820191" y="2515460"/>
                    </a:lnTo>
                    <a:lnTo>
                      <a:pt x="753037" y="2512069"/>
                    </a:lnTo>
                    <a:cubicBezTo>
                      <a:pt x="330067" y="2469114"/>
                      <a:pt x="0" y="2111903"/>
                      <a:pt x="0" y="1677600"/>
                    </a:cubicBezTo>
                    <a:cubicBezTo>
                      <a:pt x="0" y="1214344"/>
                      <a:pt x="375543" y="838800"/>
                      <a:pt x="838799" y="838800"/>
                    </a:cubicBezTo>
                    <a:lnTo>
                      <a:pt x="848975" y="839570"/>
                    </a:lnTo>
                    <a:lnTo>
                      <a:pt x="904996" y="659097"/>
                    </a:lnTo>
                    <a:cubicBezTo>
                      <a:pt x="1068821" y="271774"/>
                      <a:pt x="1452344" y="0"/>
                      <a:pt x="1899343"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44"/>
                <a:endParaRPr lang="en-US" sz="1765">
                  <a:solidFill>
                    <a:srgbClr val="FFFFFF"/>
                  </a:solidFill>
                </a:endParaRPr>
              </a:p>
            </p:txBody>
          </p:sp>
          <p:grpSp>
            <p:nvGrpSpPr>
              <p:cNvPr id="71" name="Group 70"/>
              <p:cNvGrpSpPr/>
              <p:nvPr/>
            </p:nvGrpSpPr>
            <p:grpSpPr bwMode="black">
              <a:xfrm>
                <a:off x="939589" y="5039992"/>
                <a:ext cx="502956" cy="517789"/>
                <a:chOff x="3356940" y="3467100"/>
                <a:chExt cx="533400" cy="549275"/>
              </a:xfrm>
              <a:solidFill>
                <a:schemeClr val="accent5"/>
              </a:solidFill>
            </p:grpSpPr>
            <p:sp>
              <p:nvSpPr>
                <p:cNvPr id="72" name="Freeform 82"/>
                <p:cNvSpPr>
                  <a:spLocks noEditPoints="1"/>
                </p:cNvSpPr>
                <p:nvPr/>
              </p:nvSpPr>
              <p:spPr bwMode="black">
                <a:xfrm>
                  <a:off x="335694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sp>
              <p:nvSpPr>
                <p:cNvPr id="73"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89642" tIns="44821" rIns="89642" bIns="44821" numCol="1" anchor="t" anchorCtr="0" compatLnSpc="1">
                  <a:prstTxWarp prst="textNoShape">
                    <a:avLst/>
                  </a:prstTxWarp>
                </a:bodyPr>
                <a:lstStyle/>
                <a:p>
                  <a:pPr defTabSz="913844"/>
                  <a:endParaRPr lang="en-US" sz="1568">
                    <a:solidFill>
                      <a:srgbClr val="000000"/>
                    </a:solidFill>
                  </a:endParaRPr>
                </a:p>
              </p:txBody>
            </p:sp>
          </p:grpSp>
        </p:grpSp>
      </p:grpSp>
      <p:grpSp>
        <p:nvGrpSpPr>
          <p:cNvPr id="21" name="Group 20"/>
          <p:cNvGrpSpPr/>
          <p:nvPr/>
        </p:nvGrpSpPr>
        <p:grpSpPr>
          <a:xfrm>
            <a:off x="577484" y="2329347"/>
            <a:ext cx="11052057" cy="773421"/>
            <a:chOff x="579438" y="2439885"/>
            <a:chExt cx="11273674" cy="788930"/>
          </a:xfrm>
        </p:grpSpPr>
        <p:sp>
          <p:nvSpPr>
            <p:cNvPr id="10" name="Rectangle 9"/>
            <p:cNvSpPr/>
            <p:nvPr/>
          </p:nvSpPr>
          <p:spPr bwMode="auto">
            <a:xfrm>
              <a:off x="579438" y="2439885"/>
              <a:ext cx="11273674" cy="788930"/>
            </a:xfrm>
            <a:prstGeom prst="rect">
              <a:avLst/>
            </a:prstGeom>
            <a:solidFill>
              <a:schemeClr val="accent2"/>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11" name="TextBox 10"/>
            <p:cNvSpPr txBox="1"/>
            <p:nvPr/>
          </p:nvSpPr>
          <p:spPr>
            <a:xfrm>
              <a:off x="1693669" y="2439885"/>
              <a:ext cx="10079982" cy="788930"/>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13844"/>
              <a:r>
                <a:rPr lang="en-US" sz="1765" dirty="0">
                  <a:solidFill>
                    <a:srgbClr val="505050"/>
                  </a:solidFill>
                </a:rPr>
                <a:t>Offers roadmap for meeting rigorous </a:t>
              </a:r>
              <a:r>
                <a:rPr lang="en-IN" sz="1765" dirty="0">
                  <a:solidFill>
                    <a:srgbClr val="505050"/>
                  </a:solidFill>
                </a:rPr>
                <a:t>compliance demands </a:t>
              </a:r>
              <a:r>
                <a:rPr lang="en-US" sz="1765" dirty="0">
                  <a:solidFill>
                    <a:srgbClr val="505050"/>
                  </a:solidFill>
                </a:rPr>
                <a:t>(i.e. </a:t>
              </a:r>
              <a:r>
                <a:rPr lang="en-US" sz="1765" dirty="0" err="1">
                  <a:solidFill>
                    <a:srgbClr val="505050"/>
                  </a:solidFill>
                </a:rPr>
                <a:t>FedRAMP</a:t>
              </a:r>
              <a:r>
                <a:rPr lang="en-US" sz="1765" dirty="0">
                  <a:solidFill>
                    <a:srgbClr val="505050"/>
                  </a:solidFill>
                </a:rPr>
                <a:t>, CJIS, and HIPAA) of a government-only cloud.</a:t>
              </a:r>
            </a:p>
          </p:txBody>
        </p:sp>
        <p:sp>
          <p:nvSpPr>
            <p:cNvPr id="39" name="Oval 19"/>
            <p:cNvSpPr/>
            <p:nvPr/>
          </p:nvSpPr>
          <p:spPr>
            <a:xfrm>
              <a:off x="939546" y="2569684"/>
              <a:ext cx="425797" cy="529333"/>
            </a:xfrm>
            <a:custGeom>
              <a:avLst/>
              <a:gdLst/>
              <a:ahLst/>
              <a:cxnLst/>
              <a:rect l="l" t="t" r="r" b="b"/>
              <a:pathLst>
                <a:path w="579691" h="720651">
                  <a:moveTo>
                    <a:pt x="108348" y="493278"/>
                  </a:moveTo>
                  <a:lnTo>
                    <a:pt x="108348" y="545326"/>
                  </a:lnTo>
                  <a:lnTo>
                    <a:pt x="160396" y="545326"/>
                  </a:lnTo>
                  <a:lnTo>
                    <a:pt x="160396" y="493278"/>
                  </a:lnTo>
                  <a:close/>
                  <a:moveTo>
                    <a:pt x="87378" y="472309"/>
                  </a:moveTo>
                  <a:lnTo>
                    <a:pt x="181364" y="472309"/>
                  </a:lnTo>
                  <a:lnTo>
                    <a:pt x="181364" y="566295"/>
                  </a:lnTo>
                  <a:lnTo>
                    <a:pt x="87378" y="566295"/>
                  </a:lnTo>
                  <a:close/>
                  <a:moveTo>
                    <a:pt x="108348" y="365743"/>
                  </a:moveTo>
                  <a:lnTo>
                    <a:pt x="108348" y="417791"/>
                  </a:lnTo>
                  <a:lnTo>
                    <a:pt x="160396" y="417791"/>
                  </a:lnTo>
                  <a:lnTo>
                    <a:pt x="160396" y="365743"/>
                  </a:lnTo>
                  <a:close/>
                  <a:moveTo>
                    <a:pt x="87378" y="344774"/>
                  </a:moveTo>
                  <a:lnTo>
                    <a:pt x="181364" y="344774"/>
                  </a:lnTo>
                  <a:lnTo>
                    <a:pt x="181364" y="438760"/>
                  </a:lnTo>
                  <a:lnTo>
                    <a:pt x="87378" y="438760"/>
                  </a:lnTo>
                  <a:close/>
                  <a:moveTo>
                    <a:pt x="507114" y="310485"/>
                  </a:moveTo>
                  <a:cubicBezTo>
                    <a:pt x="509465" y="310391"/>
                    <a:pt x="511574" y="311147"/>
                    <a:pt x="513682" y="313364"/>
                  </a:cubicBezTo>
                  <a:lnTo>
                    <a:pt x="530873" y="336717"/>
                  </a:lnTo>
                  <a:cubicBezTo>
                    <a:pt x="532711" y="340718"/>
                    <a:pt x="533576" y="344718"/>
                    <a:pt x="528602" y="349692"/>
                  </a:cubicBezTo>
                  <a:cubicBezTo>
                    <a:pt x="501465" y="368937"/>
                    <a:pt x="462650" y="408292"/>
                    <a:pt x="429673" y="456081"/>
                  </a:cubicBezTo>
                  <a:cubicBezTo>
                    <a:pt x="424051" y="459432"/>
                    <a:pt x="420699" y="460189"/>
                    <a:pt x="415726" y="457378"/>
                  </a:cubicBezTo>
                  <a:lnTo>
                    <a:pt x="358639" y="394777"/>
                  </a:lnTo>
                  <a:cubicBezTo>
                    <a:pt x="355071" y="391426"/>
                    <a:pt x="355396" y="386128"/>
                    <a:pt x="358639" y="381803"/>
                  </a:cubicBezTo>
                  <a:cubicBezTo>
                    <a:pt x="364045" y="372937"/>
                    <a:pt x="369451" y="369261"/>
                    <a:pt x="374857" y="362990"/>
                  </a:cubicBezTo>
                  <a:cubicBezTo>
                    <a:pt x="380587" y="359531"/>
                    <a:pt x="384696" y="358990"/>
                    <a:pt x="390102" y="363315"/>
                  </a:cubicBezTo>
                  <a:lnTo>
                    <a:pt x="419943" y="393480"/>
                  </a:lnTo>
                  <a:cubicBezTo>
                    <a:pt x="441458" y="360395"/>
                    <a:pt x="468164" y="332501"/>
                    <a:pt x="499086" y="312715"/>
                  </a:cubicBezTo>
                  <a:cubicBezTo>
                    <a:pt x="502167" y="311526"/>
                    <a:pt x="504762" y="310580"/>
                    <a:pt x="507114" y="310485"/>
                  </a:cubicBezTo>
                  <a:close/>
                  <a:moveTo>
                    <a:pt x="444202" y="270481"/>
                  </a:moveTo>
                  <a:cubicBezTo>
                    <a:pt x="381070" y="270481"/>
                    <a:pt x="329892" y="321659"/>
                    <a:pt x="329892" y="384791"/>
                  </a:cubicBezTo>
                  <a:cubicBezTo>
                    <a:pt x="329892" y="447922"/>
                    <a:pt x="381070" y="499100"/>
                    <a:pt x="444202" y="499100"/>
                  </a:cubicBezTo>
                  <a:cubicBezTo>
                    <a:pt x="507333" y="499100"/>
                    <a:pt x="558511" y="447922"/>
                    <a:pt x="558511" y="384791"/>
                  </a:cubicBezTo>
                  <a:cubicBezTo>
                    <a:pt x="558511" y="321659"/>
                    <a:pt x="507333" y="270481"/>
                    <a:pt x="444202" y="270481"/>
                  </a:cubicBezTo>
                  <a:close/>
                  <a:moveTo>
                    <a:pt x="444202" y="249301"/>
                  </a:moveTo>
                  <a:cubicBezTo>
                    <a:pt x="519030" y="249301"/>
                    <a:pt x="579691" y="309962"/>
                    <a:pt x="579691" y="384791"/>
                  </a:cubicBezTo>
                  <a:cubicBezTo>
                    <a:pt x="579691" y="459619"/>
                    <a:pt x="519030" y="520280"/>
                    <a:pt x="444202" y="520280"/>
                  </a:cubicBezTo>
                  <a:cubicBezTo>
                    <a:pt x="369373" y="520280"/>
                    <a:pt x="308712" y="459619"/>
                    <a:pt x="308712" y="384791"/>
                  </a:cubicBezTo>
                  <a:cubicBezTo>
                    <a:pt x="308712" y="309962"/>
                    <a:pt x="369373" y="249301"/>
                    <a:pt x="444202" y="249301"/>
                  </a:cubicBezTo>
                  <a:close/>
                  <a:moveTo>
                    <a:pt x="108348" y="238208"/>
                  </a:moveTo>
                  <a:lnTo>
                    <a:pt x="108348" y="290256"/>
                  </a:lnTo>
                  <a:lnTo>
                    <a:pt x="160396" y="290256"/>
                  </a:lnTo>
                  <a:lnTo>
                    <a:pt x="160396" y="238208"/>
                  </a:lnTo>
                  <a:close/>
                  <a:moveTo>
                    <a:pt x="87378" y="217239"/>
                  </a:moveTo>
                  <a:lnTo>
                    <a:pt x="181364" y="217239"/>
                  </a:lnTo>
                  <a:lnTo>
                    <a:pt x="181364" y="311225"/>
                  </a:lnTo>
                  <a:lnTo>
                    <a:pt x="87378" y="311225"/>
                  </a:lnTo>
                  <a:close/>
                  <a:moveTo>
                    <a:pt x="306646" y="51185"/>
                  </a:moveTo>
                  <a:lnTo>
                    <a:pt x="470954" y="51185"/>
                  </a:lnTo>
                  <a:cubicBezTo>
                    <a:pt x="491745" y="51185"/>
                    <a:pt x="508600" y="68040"/>
                    <a:pt x="508600" y="88831"/>
                  </a:cubicBezTo>
                  <a:lnTo>
                    <a:pt x="508600" y="252510"/>
                  </a:lnTo>
                  <a:cubicBezTo>
                    <a:pt x="498672" y="247052"/>
                    <a:pt x="487847" y="243225"/>
                    <a:pt x="476508" y="240802"/>
                  </a:cubicBezTo>
                  <a:lnTo>
                    <a:pt x="476508" y="101557"/>
                  </a:lnTo>
                  <a:lnTo>
                    <a:pt x="321025" y="101557"/>
                  </a:lnTo>
                  <a:lnTo>
                    <a:pt x="321025" y="57470"/>
                  </a:lnTo>
                  <a:lnTo>
                    <a:pt x="321572" y="57472"/>
                  </a:lnTo>
                  <a:lnTo>
                    <a:pt x="321025" y="57259"/>
                  </a:lnTo>
                  <a:lnTo>
                    <a:pt x="321025" y="56899"/>
                  </a:lnTo>
                  <a:lnTo>
                    <a:pt x="320104" y="56899"/>
                  </a:lnTo>
                  <a:cubicBezTo>
                    <a:pt x="314695" y="55109"/>
                    <a:pt x="310247" y="53396"/>
                    <a:pt x="306646" y="51185"/>
                  </a:cubicBezTo>
                  <a:close/>
                  <a:moveTo>
                    <a:pt x="37646" y="51185"/>
                  </a:moveTo>
                  <a:lnTo>
                    <a:pt x="201954" y="51185"/>
                  </a:lnTo>
                  <a:cubicBezTo>
                    <a:pt x="198353" y="53396"/>
                    <a:pt x="193905" y="55109"/>
                    <a:pt x="188496" y="56899"/>
                  </a:cubicBezTo>
                  <a:lnTo>
                    <a:pt x="187575" y="56899"/>
                  </a:lnTo>
                  <a:lnTo>
                    <a:pt x="187575" y="57259"/>
                  </a:lnTo>
                  <a:lnTo>
                    <a:pt x="187028" y="57472"/>
                  </a:lnTo>
                  <a:lnTo>
                    <a:pt x="187575" y="57470"/>
                  </a:lnTo>
                  <a:lnTo>
                    <a:pt x="187575" y="101557"/>
                  </a:lnTo>
                  <a:lnTo>
                    <a:pt x="33717" y="101557"/>
                  </a:lnTo>
                  <a:lnTo>
                    <a:pt x="33717" y="635019"/>
                  </a:lnTo>
                  <a:cubicBezTo>
                    <a:pt x="40762" y="636107"/>
                    <a:pt x="49296" y="636476"/>
                    <a:pt x="63276" y="633875"/>
                  </a:cubicBezTo>
                  <a:cubicBezTo>
                    <a:pt x="61629" y="641122"/>
                    <a:pt x="62015" y="648623"/>
                    <a:pt x="65654" y="659108"/>
                  </a:cubicBezTo>
                  <a:lnTo>
                    <a:pt x="476508" y="659108"/>
                  </a:lnTo>
                  <a:lnTo>
                    <a:pt x="476508" y="528779"/>
                  </a:lnTo>
                  <a:cubicBezTo>
                    <a:pt x="487847" y="526356"/>
                    <a:pt x="498672" y="522529"/>
                    <a:pt x="508600" y="517071"/>
                  </a:cubicBezTo>
                  <a:lnTo>
                    <a:pt x="508600" y="683005"/>
                  </a:lnTo>
                  <a:cubicBezTo>
                    <a:pt x="508600" y="703796"/>
                    <a:pt x="491745" y="720651"/>
                    <a:pt x="470954" y="720651"/>
                  </a:cubicBezTo>
                  <a:lnTo>
                    <a:pt x="37646" y="720651"/>
                  </a:lnTo>
                  <a:cubicBezTo>
                    <a:pt x="16855" y="720651"/>
                    <a:pt x="0" y="703796"/>
                    <a:pt x="0" y="683005"/>
                  </a:cubicBezTo>
                  <a:lnTo>
                    <a:pt x="0" y="88831"/>
                  </a:lnTo>
                  <a:cubicBezTo>
                    <a:pt x="0" y="68040"/>
                    <a:pt x="16855" y="51185"/>
                    <a:pt x="37646" y="51185"/>
                  </a:cubicBezTo>
                  <a:close/>
                  <a:moveTo>
                    <a:pt x="254300" y="16249"/>
                  </a:moveTo>
                  <a:cubicBezTo>
                    <a:pt x="245466" y="16249"/>
                    <a:pt x="238305" y="23411"/>
                    <a:pt x="238305" y="32244"/>
                  </a:cubicBezTo>
                  <a:cubicBezTo>
                    <a:pt x="238305" y="41078"/>
                    <a:pt x="245466" y="48239"/>
                    <a:pt x="254300" y="48239"/>
                  </a:cubicBezTo>
                  <a:cubicBezTo>
                    <a:pt x="263134" y="48239"/>
                    <a:pt x="270295" y="41078"/>
                    <a:pt x="270295" y="32244"/>
                  </a:cubicBezTo>
                  <a:cubicBezTo>
                    <a:pt x="270295" y="23411"/>
                    <a:pt x="263134" y="16249"/>
                    <a:pt x="254300" y="16249"/>
                  </a:cubicBezTo>
                  <a:close/>
                  <a:moveTo>
                    <a:pt x="253028" y="0"/>
                  </a:moveTo>
                  <a:lnTo>
                    <a:pt x="254300" y="236"/>
                  </a:lnTo>
                  <a:lnTo>
                    <a:pt x="255572" y="0"/>
                  </a:lnTo>
                  <a:cubicBezTo>
                    <a:pt x="272113" y="0"/>
                    <a:pt x="285731" y="12376"/>
                    <a:pt x="286968" y="28330"/>
                  </a:cubicBezTo>
                  <a:lnTo>
                    <a:pt x="287138" y="28343"/>
                  </a:lnTo>
                  <a:cubicBezTo>
                    <a:pt x="290584" y="50885"/>
                    <a:pt x="297005" y="55795"/>
                    <a:pt x="315395" y="61611"/>
                  </a:cubicBezTo>
                  <a:lnTo>
                    <a:pt x="316250" y="61611"/>
                  </a:lnTo>
                  <a:lnTo>
                    <a:pt x="316250" y="61930"/>
                  </a:lnTo>
                  <a:lnTo>
                    <a:pt x="316758" y="62120"/>
                  </a:lnTo>
                  <a:lnTo>
                    <a:pt x="316250" y="62118"/>
                  </a:lnTo>
                  <a:lnTo>
                    <a:pt x="316250" y="107783"/>
                  </a:lnTo>
                  <a:cubicBezTo>
                    <a:pt x="319297" y="107924"/>
                    <a:pt x="322182" y="108114"/>
                    <a:pt x="324879" y="108327"/>
                  </a:cubicBezTo>
                  <a:cubicBezTo>
                    <a:pt x="362034" y="111261"/>
                    <a:pt x="385739" y="116452"/>
                    <a:pt x="402151" y="125931"/>
                  </a:cubicBezTo>
                  <a:cubicBezTo>
                    <a:pt x="418563" y="135409"/>
                    <a:pt x="420614" y="146807"/>
                    <a:pt x="419930" y="159783"/>
                  </a:cubicBezTo>
                  <a:cubicBezTo>
                    <a:pt x="418573" y="159955"/>
                    <a:pt x="413700" y="160192"/>
                    <a:pt x="406070" y="160461"/>
                  </a:cubicBezTo>
                  <a:lnTo>
                    <a:pt x="87671" y="160461"/>
                  </a:lnTo>
                  <a:cubicBezTo>
                    <a:pt x="87806" y="144169"/>
                    <a:pt x="95779" y="130439"/>
                    <a:pt x="110843" y="121869"/>
                  </a:cubicBezTo>
                  <a:cubicBezTo>
                    <a:pt x="126116" y="113180"/>
                    <a:pt x="143553" y="111261"/>
                    <a:pt x="179225" y="109005"/>
                  </a:cubicBezTo>
                  <a:lnTo>
                    <a:pt x="192350" y="108334"/>
                  </a:lnTo>
                  <a:lnTo>
                    <a:pt x="192350" y="62118"/>
                  </a:lnTo>
                  <a:lnTo>
                    <a:pt x="191842" y="62120"/>
                  </a:lnTo>
                  <a:lnTo>
                    <a:pt x="192350" y="61930"/>
                  </a:lnTo>
                  <a:lnTo>
                    <a:pt x="192350" y="61611"/>
                  </a:lnTo>
                  <a:lnTo>
                    <a:pt x="193205" y="61611"/>
                  </a:lnTo>
                  <a:cubicBezTo>
                    <a:pt x="211595" y="55795"/>
                    <a:pt x="218016" y="50885"/>
                    <a:pt x="221462" y="28343"/>
                  </a:cubicBezTo>
                  <a:lnTo>
                    <a:pt x="221632" y="28330"/>
                  </a:lnTo>
                  <a:cubicBezTo>
                    <a:pt x="222869" y="12376"/>
                    <a:pt x="236487" y="0"/>
                    <a:pt x="2530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44"/>
              <a:endParaRPr lang="en-US" sz="1765">
                <a:solidFill>
                  <a:srgbClr val="FFFFFF"/>
                </a:solidFill>
              </a:endParaRPr>
            </a:p>
          </p:txBody>
        </p:sp>
      </p:grpSp>
      <p:grpSp>
        <p:nvGrpSpPr>
          <p:cNvPr id="20" name="Group 19"/>
          <p:cNvGrpSpPr/>
          <p:nvPr/>
        </p:nvGrpSpPr>
        <p:grpSpPr>
          <a:xfrm>
            <a:off x="577484" y="3165830"/>
            <a:ext cx="11052057" cy="773421"/>
            <a:chOff x="579438" y="3293140"/>
            <a:chExt cx="11273674" cy="788930"/>
          </a:xfrm>
        </p:grpSpPr>
        <p:sp>
          <p:nvSpPr>
            <p:cNvPr id="12" name="Rectangle 11"/>
            <p:cNvSpPr/>
            <p:nvPr/>
          </p:nvSpPr>
          <p:spPr bwMode="auto">
            <a:xfrm>
              <a:off x="579438" y="3293140"/>
              <a:ext cx="11273674" cy="788930"/>
            </a:xfrm>
            <a:prstGeom prst="rect">
              <a:avLst/>
            </a:prstGeom>
            <a:solidFill>
              <a:schemeClr val="accent3"/>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13" name="TextBox 12"/>
            <p:cNvSpPr txBox="1"/>
            <p:nvPr/>
          </p:nvSpPr>
          <p:spPr>
            <a:xfrm>
              <a:off x="1693669" y="3293140"/>
              <a:ext cx="10079982" cy="788930"/>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13844"/>
              <a:r>
                <a:rPr lang="en-US" sz="1765" dirty="0">
                  <a:solidFill>
                    <a:srgbClr val="505050"/>
                  </a:solidFill>
                </a:rPr>
                <a:t>Provides rich infrastructure, storage, and identity management capabilities </a:t>
              </a:r>
              <a:r>
                <a:rPr lang="en-IN" sz="1765" dirty="0">
                  <a:solidFill>
                    <a:srgbClr val="505050"/>
                  </a:solidFill>
                </a:rPr>
                <a:t>delivered through cloud, on-premises, and hybrid solutions.</a:t>
              </a:r>
              <a:endParaRPr lang="en-US" sz="1765" dirty="0">
                <a:solidFill>
                  <a:srgbClr val="505050"/>
                </a:solidFill>
              </a:endParaRPr>
            </a:p>
          </p:txBody>
        </p:sp>
        <p:grpSp>
          <p:nvGrpSpPr>
            <p:cNvPr id="47" name="Group 46"/>
            <p:cNvGrpSpPr/>
            <p:nvPr/>
          </p:nvGrpSpPr>
          <p:grpSpPr>
            <a:xfrm>
              <a:off x="720495" y="3428251"/>
              <a:ext cx="907044" cy="518703"/>
              <a:chOff x="770080" y="3312587"/>
              <a:chExt cx="1144875" cy="654709"/>
            </a:xfrm>
          </p:grpSpPr>
          <p:sp>
            <p:nvSpPr>
              <p:cNvPr id="50" name="Freeform 49"/>
              <p:cNvSpPr/>
              <p:nvPr/>
            </p:nvSpPr>
            <p:spPr>
              <a:xfrm>
                <a:off x="770080" y="3312587"/>
                <a:ext cx="884009" cy="571600"/>
              </a:xfrm>
              <a:custGeom>
                <a:avLst/>
                <a:gdLst/>
                <a:ahLst/>
                <a:cxnLst/>
                <a:rect l="l" t="t" r="r" b="b"/>
                <a:pathLst>
                  <a:path w="884009" h="571600">
                    <a:moveTo>
                      <a:pt x="431436" y="0"/>
                    </a:moveTo>
                    <a:cubicBezTo>
                      <a:pt x="532972" y="0"/>
                      <a:pt x="620089" y="61734"/>
                      <a:pt x="657301" y="149714"/>
                    </a:cubicBezTo>
                    <a:lnTo>
                      <a:pt x="665946" y="177562"/>
                    </a:lnTo>
                    <a:lnTo>
                      <a:pt x="678561" y="172945"/>
                    </a:lnTo>
                    <a:cubicBezTo>
                      <a:pt x="696134" y="167479"/>
                      <a:pt x="714818" y="164535"/>
                      <a:pt x="734189" y="164535"/>
                    </a:cubicBezTo>
                    <a:cubicBezTo>
                      <a:pt x="796439" y="164535"/>
                      <a:pt x="851587" y="194940"/>
                      <a:pt x="884009" y="242860"/>
                    </a:cubicBezTo>
                    <a:lnTo>
                      <a:pt x="762079" y="256129"/>
                    </a:lnTo>
                    <a:cubicBezTo>
                      <a:pt x="750310" y="257409"/>
                      <a:pt x="741808" y="267988"/>
                      <a:pt x="743088" y="279757"/>
                    </a:cubicBezTo>
                    <a:lnTo>
                      <a:pt x="741852" y="571600"/>
                    </a:lnTo>
                    <a:lnTo>
                      <a:pt x="190533" y="571600"/>
                    </a:lnTo>
                    <a:lnTo>
                      <a:pt x="186306" y="571600"/>
                    </a:lnTo>
                    <a:lnTo>
                      <a:pt x="186306" y="571386"/>
                    </a:lnTo>
                    <a:lnTo>
                      <a:pt x="171052" y="570616"/>
                    </a:lnTo>
                    <a:cubicBezTo>
                      <a:pt x="74975" y="560859"/>
                      <a:pt x="0" y="479718"/>
                      <a:pt x="0" y="381067"/>
                    </a:cubicBezTo>
                    <a:cubicBezTo>
                      <a:pt x="0" y="275838"/>
                      <a:pt x="85305" y="190533"/>
                      <a:pt x="190533" y="190533"/>
                    </a:cubicBezTo>
                    <a:lnTo>
                      <a:pt x="192845" y="190708"/>
                    </a:lnTo>
                    <a:lnTo>
                      <a:pt x="205570" y="149714"/>
                    </a:lnTo>
                    <a:cubicBezTo>
                      <a:pt x="242783" y="61734"/>
                      <a:pt x="329900" y="0"/>
                      <a:pt x="431436"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44"/>
                <a:endParaRPr lang="en-US" sz="1765">
                  <a:solidFill>
                    <a:srgbClr val="FFFFFF"/>
                  </a:solidFill>
                </a:endParaRPr>
              </a:p>
            </p:txBody>
          </p:sp>
          <p:grpSp>
            <p:nvGrpSpPr>
              <p:cNvPr id="51" name="Group 50"/>
              <p:cNvGrpSpPr/>
              <p:nvPr/>
            </p:nvGrpSpPr>
            <p:grpSpPr>
              <a:xfrm>
                <a:off x="1534535" y="3565322"/>
                <a:ext cx="380420" cy="401974"/>
                <a:chOff x="7679612" y="4091856"/>
                <a:chExt cx="667961" cy="705806"/>
              </a:xfrm>
              <a:solidFill>
                <a:schemeClr val="bg1"/>
              </a:solidFill>
            </p:grpSpPr>
            <p:sp>
              <p:nvSpPr>
                <p:cNvPr id="52" name="Freeform 51"/>
                <p:cNvSpPr/>
                <p:nvPr/>
              </p:nvSpPr>
              <p:spPr>
                <a:xfrm>
                  <a:off x="7679612" y="4091856"/>
                  <a:ext cx="484427" cy="705806"/>
                </a:xfrm>
                <a:custGeom>
                  <a:avLst/>
                  <a:gdLst/>
                  <a:ahLst/>
                  <a:cxnLst/>
                  <a:rect l="l" t="t" r="r" b="b"/>
                  <a:pathLst>
                    <a:path w="484428" h="705806">
                      <a:moveTo>
                        <a:pt x="22138" y="425828"/>
                      </a:moveTo>
                      <a:lnTo>
                        <a:pt x="22138" y="647206"/>
                      </a:lnTo>
                      <a:lnTo>
                        <a:pt x="290396" y="684971"/>
                      </a:lnTo>
                      <a:lnTo>
                        <a:pt x="290396" y="437548"/>
                      </a:lnTo>
                      <a:close/>
                      <a:moveTo>
                        <a:pt x="22138" y="363973"/>
                      </a:moveTo>
                      <a:lnTo>
                        <a:pt x="22138" y="406946"/>
                      </a:lnTo>
                      <a:lnTo>
                        <a:pt x="291699" y="417364"/>
                      </a:lnTo>
                      <a:lnTo>
                        <a:pt x="291699" y="367228"/>
                      </a:lnTo>
                      <a:close/>
                      <a:moveTo>
                        <a:pt x="291699" y="298860"/>
                      </a:moveTo>
                      <a:lnTo>
                        <a:pt x="22789" y="301466"/>
                      </a:lnTo>
                      <a:lnTo>
                        <a:pt x="22789" y="344439"/>
                      </a:lnTo>
                      <a:lnTo>
                        <a:pt x="291699" y="348996"/>
                      </a:lnTo>
                      <a:close/>
                      <a:moveTo>
                        <a:pt x="293002" y="229192"/>
                      </a:moveTo>
                      <a:lnTo>
                        <a:pt x="22789" y="239609"/>
                      </a:lnTo>
                      <a:lnTo>
                        <a:pt x="22789" y="283235"/>
                      </a:lnTo>
                      <a:lnTo>
                        <a:pt x="293002" y="279328"/>
                      </a:lnTo>
                      <a:close/>
                      <a:moveTo>
                        <a:pt x="293652" y="159523"/>
                      </a:moveTo>
                      <a:lnTo>
                        <a:pt x="24092" y="177102"/>
                      </a:lnTo>
                      <a:lnTo>
                        <a:pt x="24092" y="222030"/>
                      </a:lnTo>
                      <a:lnTo>
                        <a:pt x="293652" y="209658"/>
                      </a:lnTo>
                      <a:close/>
                      <a:moveTo>
                        <a:pt x="293652" y="91156"/>
                      </a:moveTo>
                      <a:lnTo>
                        <a:pt x="24742" y="115247"/>
                      </a:lnTo>
                      <a:lnTo>
                        <a:pt x="24742" y="160825"/>
                      </a:lnTo>
                      <a:lnTo>
                        <a:pt x="293652" y="141943"/>
                      </a:lnTo>
                      <a:close/>
                      <a:moveTo>
                        <a:pt x="294303" y="22138"/>
                      </a:moveTo>
                      <a:lnTo>
                        <a:pt x="25394" y="54043"/>
                      </a:lnTo>
                      <a:lnTo>
                        <a:pt x="25394" y="97667"/>
                      </a:lnTo>
                      <a:lnTo>
                        <a:pt x="294303" y="71622"/>
                      </a:lnTo>
                      <a:close/>
                      <a:moveTo>
                        <a:pt x="321650" y="0"/>
                      </a:moveTo>
                      <a:lnTo>
                        <a:pt x="484428" y="52090"/>
                      </a:lnTo>
                      <a:lnTo>
                        <a:pt x="481682" y="303119"/>
                      </a:lnTo>
                      <a:cubicBezTo>
                        <a:pt x="424601" y="301242"/>
                        <a:pt x="364564" y="310379"/>
                        <a:pt x="312246" y="334952"/>
                      </a:cubicBezTo>
                      <a:lnTo>
                        <a:pt x="312246" y="680233"/>
                      </a:lnTo>
                      <a:lnTo>
                        <a:pt x="352988" y="691472"/>
                      </a:lnTo>
                      <a:lnTo>
                        <a:pt x="312534" y="705806"/>
                      </a:lnTo>
                      <a:lnTo>
                        <a:pt x="0" y="658926"/>
                      </a:lnTo>
                      <a:lnTo>
                        <a:pt x="0" y="40369"/>
                      </a:lnTo>
                      <a:close/>
                    </a:path>
                  </a:pathLst>
                </a:custGeom>
                <a:grpFill/>
                <a:ln w="9525" cap="flat" cmpd="sng" algn="ctr">
                  <a:noFill/>
                  <a:prstDash val="solid"/>
                </a:ln>
                <a:effectLst/>
              </p:spPr>
              <p:txBody>
                <a:bodyPr vert="horz" wrap="square" lIns="89639" tIns="44819" rIns="89639" bIns="44819" numCol="1" rtlCol="0" anchor="ctr" anchorCtr="0" compatLnSpc="1">
                  <a:prstTxWarp prst="textNoShape">
                    <a:avLst/>
                  </a:prstTxWarp>
                </a:bodyPr>
                <a:lstStyle/>
                <a:p>
                  <a:pPr algn="ctr" defTabSz="895578" fontAlgn="base">
                    <a:spcBef>
                      <a:spcPct val="0"/>
                    </a:spcBef>
                    <a:spcAft>
                      <a:spcPct val="0"/>
                    </a:spcAft>
                    <a:defRPr/>
                  </a:pPr>
                  <a:endParaRPr lang="en-US" sz="2157" kern="0" dirty="0">
                    <a:gradFill>
                      <a:gsLst>
                        <a:gs pos="0">
                          <a:srgbClr val="FFFFFF"/>
                        </a:gs>
                        <a:gs pos="100000">
                          <a:srgbClr val="FFFFFF"/>
                        </a:gs>
                      </a:gsLst>
                      <a:lin ang="5400000" scaled="0"/>
                    </a:gradFill>
                  </a:endParaRPr>
                </a:p>
              </p:txBody>
            </p:sp>
            <p:grpSp>
              <p:nvGrpSpPr>
                <p:cNvPr id="53" name="Group 52"/>
                <p:cNvGrpSpPr>
                  <a:grpSpLocks noChangeAspect="1"/>
                </p:cNvGrpSpPr>
                <p:nvPr/>
              </p:nvGrpSpPr>
              <p:grpSpPr>
                <a:xfrm>
                  <a:off x="8009488" y="4411546"/>
                  <a:ext cx="338085" cy="372919"/>
                  <a:chOff x="179384" y="1184276"/>
                  <a:chExt cx="1201742" cy="1325563"/>
                </a:xfrm>
                <a:grpFill/>
              </p:grpSpPr>
              <p:sp>
                <p:nvSpPr>
                  <p:cNvPr id="54" name="Oval 122"/>
                  <p:cNvSpPr>
                    <a:spLocks noChangeArrowheads="1"/>
                  </p:cNvSpPr>
                  <p:nvPr/>
                </p:nvSpPr>
                <p:spPr bwMode="auto">
                  <a:xfrm>
                    <a:off x="395288" y="1184276"/>
                    <a:ext cx="985838" cy="1873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5873">
                      <a:defRPr/>
                    </a:pPr>
                    <a:endParaRPr lang="en-US" sz="1765" kern="0">
                      <a:solidFill>
                        <a:srgbClr val="FFFFFF"/>
                      </a:solidFill>
                    </a:endParaRPr>
                  </a:p>
                </p:txBody>
              </p:sp>
              <p:sp>
                <p:nvSpPr>
                  <p:cNvPr id="55" name="Freeform 123"/>
                  <p:cNvSpPr>
                    <a:spLocks noEditPoints="1"/>
                  </p:cNvSpPr>
                  <p:nvPr/>
                </p:nvSpPr>
                <p:spPr bwMode="auto">
                  <a:xfrm>
                    <a:off x="179384" y="1314448"/>
                    <a:ext cx="1020763" cy="1195391"/>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5873">
                      <a:defRPr/>
                    </a:pPr>
                    <a:endParaRPr lang="en-US" sz="1765" kern="0">
                      <a:solidFill>
                        <a:srgbClr val="FFFFFF"/>
                      </a:solidFill>
                    </a:endParaRPr>
                  </a:p>
                </p:txBody>
              </p:sp>
            </p:grpSp>
          </p:grpSp>
        </p:grpSp>
      </p:grpSp>
      <p:grpSp>
        <p:nvGrpSpPr>
          <p:cNvPr id="22" name="Group 21"/>
          <p:cNvGrpSpPr/>
          <p:nvPr/>
        </p:nvGrpSpPr>
        <p:grpSpPr>
          <a:xfrm>
            <a:off x="577484" y="1536874"/>
            <a:ext cx="11052057" cy="729412"/>
            <a:chOff x="579438" y="1631521"/>
            <a:chExt cx="11273674" cy="744038"/>
          </a:xfrm>
        </p:grpSpPr>
        <p:sp>
          <p:nvSpPr>
            <p:cNvPr id="6" name="Rectangle 5"/>
            <p:cNvSpPr/>
            <p:nvPr/>
          </p:nvSpPr>
          <p:spPr bwMode="auto">
            <a:xfrm>
              <a:off x="579438" y="1631521"/>
              <a:ext cx="11273674" cy="744038"/>
            </a:xfrm>
            <a:prstGeom prst="rect">
              <a:avLst/>
            </a:prstGeom>
            <a:solidFill>
              <a:schemeClr val="accent1"/>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7" name="TextBox 6"/>
            <p:cNvSpPr txBox="1"/>
            <p:nvPr/>
          </p:nvSpPr>
          <p:spPr>
            <a:xfrm>
              <a:off x="1693669" y="1631521"/>
              <a:ext cx="10079982" cy="744038"/>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a:defRPr sz="1600">
                  <a:ln>
                    <a:solidFill>
                      <a:srgbClr val="FFFFFF">
                        <a:alpha val="0"/>
                      </a:srgbClr>
                    </a:solidFill>
                  </a:ln>
                  <a:solidFill>
                    <a:srgbClr val="FFFFFF"/>
                  </a:solidFill>
                  <a:latin typeface="+mj-lt"/>
                  <a:ea typeface="Segoe UI" pitchFamily="34" charset="0"/>
                  <a:cs typeface="Segoe UI" pitchFamily="34" charset="0"/>
                </a:defRPr>
              </a:lvl1pPr>
            </a:lstStyle>
            <a:p>
              <a:pPr defTabSz="913844"/>
              <a:r>
                <a:rPr lang="en-IN" sz="1765" dirty="0">
                  <a:ln>
                    <a:noFill/>
                  </a:ln>
                  <a:solidFill>
                    <a:srgbClr val="505050"/>
                  </a:solidFill>
                  <a:latin typeface="Segoe UI"/>
                </a:rPr>
                <a:t>Provides a physical and network-isolated instance of Microsoft Azure.</a:t>
              </a:r>
              <a:endParaRPr lang="en-US" sz="1765" dirty="0">
                <a:ln>
                  <a:noFill/>
                </a:ln>
                <a:solidFill>
                  <a:srgbClr val="505050"/>
                </a:solidFill>
                <a:latin typeface="Segoe UI"/>
              </a:endParaRPr>
            </a:p>
          </p:txBody>
        </p:sp>
        <p:sp>
          <p:nvSpPr>
            <p:cNvPr id="65" name="Freeform 64"/>
            <p:cNvSpPr/>
            <p:nvPr/>
          </p:nvSpPr>
          <p:spPr>
            <a:xfrm>
              <a:off x="730195" y="1779613"/>
              <a:ext cx="844501" cy="435338"/>
            </a:xfrm>
            <a:custGeom>
              <a:avLst/>
              <a:gdLst/>
              <a:ahLst/>
              <a:cxnLst/>
              <a:rect l="l" t="t" r="r" b="b"/>
              <a:pathLst>
                <a:path w="1146919" h="591233">
                  <a:moveTo>
                    <a:pt x="995484" y="399867"/>
                  </a:moveTo>
                  <a:cubicBezTo>
                    <a:pt x="973427" y="399867"/>
                    <a:pt x="955545" y="417748"/>
                    <a:pt x="955545" y="439805"/>
                  </a:cubicBezTo>
                  <a:cubicBezTo>
                    <a:pt x="955545" y="455107"/>
                    <a:pt x="964154" y="468398"/>
                    <a:pt x="978143" y="472557"/>
                  </a:cubicBezTo>
                  <a:lnTo>
                    <a:pt x="969416" y="542363"/>
                  </a:lnTo>
                  <a:lnTo>
                    <a:pt x="1022666" y="542363"/>
                  </a:lnTo>
                  <a:lnTo>
                    <a:pt x="1013887" y="472121"/>
                  </a:lnTo>
                  <a:cubicBezTo>
                    <a:pt x="1027299" y="467638"/>
                    <a:pt x="1035423" y="454672"/>
                    <a:pt x="1035423" y="439805"/>
                  </a:cubicBezTo>
                  <a:cubicBezTo>
                    <a:pt x="1035423" y="417748"/>
                    <a:pt x="1017541" y="399867"/>
                    <a:pt x="995484" y="399867"/>
                  </a:cubicBezTo>
                  <a:close/>
                  <a:moveTo>
                    <a:pt x="997385" y="256594"/>
                  </a:moveTo>
                  <a:cubicBezTo>
                    <a:pt x="984975" y="255942"/>
                    <a:pt x="972356" y="259307"/>
                    <a:pt x="961598" y="266805"/>
                  </a:cubicBezTo>
                  <a:cubicBezTo>
                    <a:pt x="940072" y="281793"/>
                    <a:pt x="931454" y="309466"/>
                    <a:pt x="940665" y="334026"/>
                  </a:cubicBezTo>
                  <a:lnTo>
                    <a:pt x="938882" y="334691"/>
                  </a:lnTo>
                  <a:lnTo>
                    <a:pt x="1046338" y="334691"/>
                  </a:lnTo>
                  <a:cubicBezTo>
                    <a:pt x="1056677" y="312667"/>
                    <a:pt x="1050539" y="286610"/>
                    <a:pt x="1031907" y="270495"/>
                  </a:cubicBezTo>
                  <a:cubicBezTo>
                    <a:pt x="1021988" y="261913"/>
                    <a:pt x="1009791" y="257243"/>
                    <a:pt x="997385" y="256594"/>
                  </a:cubicBezTo>
                  <a:close/>
                  <a:moveTo>
                    <a:pt x="1000390" y="199306"/>
                  </a:moveTo>
                  <a:cubicBezTo>
                    <a:pt x="1025209" y="200607"/>
                    <a:pt x="1049599" y="209949"/>
                    <a:pt x="1069437" y="227106"/>
                  </a:cubicBezTo>
                  <a:cubicBezTo>
                    <a:pt x="1102671" y="255850"/>
                    <a:pt x="1116031" y="300412"/>
                    <a:pt x="1100335" y="340353"/>
                  </a:cubicBezTo>
                  <a:cubicBezTo>
                    <a:pt x="1127507" y="343017"/>
                    <a:pt x="1146919" y="366718"/>
                    <a:pt x="1146919" y="394942"/>
                  </a:cubicBezTo>
                  <a:lnTo>
                    <a:pt x="1146919" y="591230"/>
                  </a:lnTo>
                  <a:lnTo>
                    <a:pt x="841837" y="591233"/>
                  </a:lnTo>
                  <a:lnTo>
                    <a:pt x="841837" y="394942"/>
                  </a:lnTo>
                  <a:cubicBezTo>
                    <a:pt x="841837" y="367459"/>
                    <a:pt x="860243" y="344272"/>
                    <a:pt x="886580" y="341117"/>
                  </a:cubicBezTo>
                  <a:cubicBezTo>
                    <a:pt x="871526" y="296155"/>
                    <a:pt x="889293" y="247242"/>
                    <a:pt x="928819" y="219727"/>
                  </a:cubicBezTo>
                  <a:cubicBezTo>
                    <a:pt x="950338" y="204735"/>
                    <a:pt x="975577" y="198005"/>
                    <a:pt x="1000390" y="199306"/>
                  </a:cubicBezTo>
                  <a:close/>
                  <a:moveTo>
                    <a:pt x="431436" y="0"/>
                  </a:moveTo>
                  <a:cubicBezTo>
                    <a:pt x="532972" y="0"/>
                    <a:pt x="620089" y="61733"/>
                    <a:pt x="657301" y="149714"/>
                  </a:cubicBezTo>
                  <a:lnTo>
                    <a:pt x="665946" y="177562"/>
                  </a:lnTo>
                  <a:lnTo>
                    <a:pt x="678561" y="172945"/>
                  </a:lnTo>
                  <a:cubicBezTo>
                    <a:pt x="696134" y="167479"/>
                    <a:pt x="714818" y="164534"/>
                    <a:pt x="734189" y="164534"/>
                  </a:cubicBezTo>
                  <a:cubicBezTo>
                    <a:pt x="793518" y="164534"/>
                    <a:pt x="846396" y="192154"/>
                    <a:pt x="878738" y="236771"/>
                  </a:cubicBezTo>
                  <a:cubicBezTo>
                    <a:pt x="858212" y="265641"/>
                    <a:pt x="852041" y="302533"/>
                    <a:pt x="863676" y="337281"/>
                  </a:cubicBezTo>
                  <a:cubicBezTo>
                    <a:pt x="834680" y="340756"/>
                    <a:pt x="814414" y="366285"/>
                    <a:pt x="814414" y="396543"/>
                  </a:cubicBezTo>
                  <a:lnTo>
                    <a:pt x="814414" y="571600"/>
                  </a:lnTo>
                  <a:lnTo>
                    <a:pt x="190533" y="571600"/>
                  </a:lnTo>
                  <a:lnTo>
                    <a:pt x="186306" y="571600"/>
                  </a:lnTo>
                  <a:lnTo>
                    <a:pt x="186306" y="571386"/>
                  </a:lnTo>
                  <a:lnTo>
                    <a:pt x="171052" y="570616"/>
                  </a:lnTo>
                  <a:cubicBezTo>
                    <a:pt x="74975" y="560859"/>
                    <a:pt x="0" y="479718"/>
                    <a:pt x="0" y="381067"/>
                  </a:cubicBezTo>
                  <a:cubicBezTo>
                    <a:pt x="0" y="275838"/>
                    <a:pt x="85305" y="190533"/>
                    <a:pt x="190533" y="190533"/>
                  </a:cubicBezTo>
                  <a:lnTo>
                    <a:pt x="192845" y="190708"/>
                  </a:lnTo>
                  <a:lnTo>
                    <a:pt x="205570" y="149714"/>
                  </a:lnTo>
                  <a:cubicBezTo>
                    <a:pt x="242783" y="61733"/>
                    <a:pt x="329900" y="0"/>
                    <a:pt x="431436" y="0"/>
                  </a:cubicBez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44"/>
              <a:endParaRPr lang="en-US" sz="1765">
                <a:solidFill>
                  <a:srgbClr val="FFFFFF"/>
                </a:solidFill>
              </a:endParaRPr>
            </a:p>
          </p:txBody>
        </p:sp>
      </p:grpSp>
      <p:grpSp>
        <p:nvGrpSpPr>
          <p:cNvPr id="2" name="Group 1"/>
          <p:cNvGrpSpPr/>
          <p:nvPr/>
        </p:nvGrpSpPr>
        <p:grpSpPr>
          <a:xfrm>
            <a:off x="577484" y="5587258"/>
            <a:ext cx="11052057" cy="729412"/>
            <a:chOff x="579438" y="5763124"/>
            <a:chExt cx="11273674" cy="744038"/>
          </a:xfrm>
        </p:grpSpPr>
        <p:sp>
          <p:nvSpPr>
            <p:cNvPr id="28" name="Rectangle 27"/>
            <p:cNvSpPr/>
            <p:nvPr/>
          </p:nvSpPr>
          <p:spPr bwMode="auto">
            <a:xfrm>
              <a:off x="579438" y="5763124"/>
              <a:ext cx="11273674" cy="744038"/>
            </a:xfrm>
            <a:prstGeom prst="rect">
              <a:avLst/>
            </a:prstGeom>
            <a:solidFill>
              <a:schemeClr val="accent6"/>
            </a:solidFill>
            <a:ln w="3175">
              <a:noFill/>
              <a:prstDash val="sysDot"/>
              <a:headEnd type="none"/>
              <a:tailEnd type="oval" w="lg" len="lg"/>
            </a:ln>
          </p:spPr>
          <p:txBody>
            <a:bodyPr wrap="square" lIns="143428" tIns="89642" rIns="89642" bIns="89642" rtlCol="0" anchor="ctr" anchorCtr="0">
              <a:noAutofit/>
            </a:bodyPr>
            <a:lstStyle/>
            <a:p>
              <a:pPr defTabSz="913844"/>
              <a:endParaRPr lang="en-US" sz="1961" dirty="0">
                <a:solidFill>
                  <a:srgbClr val="000000"/>
                </a:solidFill>
                <a:ea typeface="Segoe UI" pitchFamily="34" charset="0"/>
                <a:cs typeface="Segoe UI" pitchFamily="34" charset="0"/>
              </a:endParaRPr>
            </a:p>
          </p:txBody>
        </p:sp>
        <p:sp>
          <p:nvSpPr>
            <p:cNvPr id="29" name="TextBox 28"/>
            <p:cNvSpPr txBox="1"/>
            <p:nvPr/>
          </p:nvSpPr>
          <p:spPr>
            <a:xfrm>
              <a:off x="1693669" y="5763124"/>
              <a:ext cx="10079982" cy="744038"/>
            </a:xfrm>
            <a:prstGeom prst="rect">
              <a:avLst/>
            </a:prstGeom>
            <a:solidFill>
              <a:schemeClr val="bg1">
                <a:lumMod val="95000"/>
              </a:schemeClr>
            </a:solidFill>
            <a:ln w="3175">
              <a:noFill/>
              <a:prstDash val="sysDot"/>
              <a:headEnd type="none"/>
              <a:tailEnd type="oval" w="lg" len="lg"/>
            </a:ln>
            <a:extLst/>
          </p:spPr>
          <p:txBody>
            <a:bodyPr wrap="square" lIns="89642" tIns="62750" rIns="89642" bIns="62750" rtlCol="0" anchor="ctr" anchorCtr="0">
              <a:noAutofit/>
            </a:bodyPr>
            <a:lstStyle>
              <a:defPPr>
                <a:defRPr lang="en-US"/>
              </a:defPPr>
              <a:lvl1pPr lvl="0">
                <a:spcBef>
                  <a:spcPts val="0"/>
                </a:spcBef>
                <a:defRPr>
                  <a:ln>
                    <a:noFill/>
                  </a:ln>
                  <a:solidFill>
                    <a:schemeClr val="tx2"/>
                  </a:solidFill>
                  <a:ea typeface="Segoe UI" pitchFamily="34" charset="0"/>
                  <a:cs typeface="Segoe UI" pitchFamily="34" charset="0"/>
                </a:defRPr>
              </a:lvl1pPr>
            </a:lstStyle>
            <a:p>
              <a:pPr defTabSz="913844"/>
              <a:r>
                <a:rPr lang="en-US" sz="1765" dirty="0">
                  <a:solidFill>
                    <a:srgbClr val="505050"/>
                  </a:solidFill>
                </a:rPr>
                <a:t>Provides screened U.S. citizens and policies to help protect customer data and applications.</a:t>
              </a:r>
            </a:p>
          </p:txBody>
        </p:sp>
        <p:grpSp>
          <p:nvGrpSpPr>
            <p:cNvPr id="70" name="Group 69"/>
            <p:cNvGrpSpPr/>
            <p:nvPr/>
          </p:nvGrpSpPr>
          <p:grpSpPr>
            <a:xfrm>
              <a:off x="885204" y="5846828"/>
              <a:ext cx="571436" cy="576643"/>
              <a:chOff x="934694" y="5872139"/>
              <a:chExt cx="568066" cy="573242"/>
            </a:xfrm>
          </p:grpSpPr>
          <p:sp>
            <p:nvSpPr>
              <p:cNvPr id="74" name="Oval 4"/>
              <p:cNvSpPr/>
              <p:nvPr/>
            </p:nvSpPr>
            <p:spPr>
              <a:xfrm>
                <a:off x="934694" y="5872139"/>
                <a:ext cx="373638" cy="489985"/>
              </a:xfrm>
              <a:custGeom>
                <a:avLst/>
                <a:gdLst/>
                <a:ahLst/>
                <a:cxnLst/>
                <a:rect l="l" t="t" r="r" b="b"/>
                <a:pathLst>
                  <a:path w="373638" h="489986">
                    <a:moveTo>
                      <a:pt x="54454" y="235145"/>
                    </a:moveTo>
                    <a:lnTo>
                      <a:pt x="87329" y="235145"/>
                    </a:lnTo>
                    <a:cubicBezTo>
                      <a:pt x="113286" y="259623"/>
                      <a:pt x="148332" y="274356"/>
                      <a:pt x="186819" y="274356"/>
                    </a:cubicBezTo>
                    <a:cubicBezTo>
                      <a:pt x="225306" y="274356"/>
                      <a:pt x="260352" y="259623"/>
                      <a:pt x="286309" y="235145"/>
                    </a:cubicBezTo>
                    <a:lnTo>
                      <a:pt x="319184" y="235145"/>
                    </a:lnTo>
                    <a:cubicBezTo>
                      <a:pt x="349258" y="235145"/>
                      <a:pt x="373638" y="259525"/>
                      <a:pt x="373638" y="289599"/>
                    </a:cubicBezTo>
                    <a:lnTo>
                      <a:pt x="373638" y="323046"/>
                    </a:lnTo>
                    <a:lnTo>
                      <a:pt x="295933" y="323046"/>
                    </a:lnTo>
                    <a:cubicBezTo>
                      <a:pt x="282073" y="323046"/>
                      <a:pt x="270838" y="334281"/>
                      <a:pt x="270838" y="348141"/>
                    </a:cubicBezTo>
                    <a:lnTo>
                      <a:pt x="270838" y="486652"/>
                    </a:lnTo>
                    <a:cubicBezTo>
                      <a:pt x="270838" y="487837"/>
                      <a:pt x="270920" y="489004"/>
                      <a:pt x="272219" y="489986"/>
                    </a:cubicBezTo>
                    <a:lnTo>
                      <a:pt x="0" y="489986"/>
                    </a:lnTo>
                    <a:lnTo>
                      <a:pt x="0" y="289599"/>
                    </a:lnTo>
                    <a:cubicBezTo>
                      <a:pt x="0" y="259525"/>
                      <a:pt x="24380" y="235145"/>
                      <a:pt x="54454" y="235145"/>
                    </a:cubicBezTo>
                    <a:close/>
                    <a:moveTo>
                      <a:pt x="283316" y="110136"/>
                    </a:moveTo>
                    <a:cubicBezTo>
                      <a:pt x="210713" y="135798"/>
                      <a:pt x="171590" y="143604"/>
                      <a:pt x="88942" y="113465"/>
                    </a:cubicBezTo>
                    <a:cubicBezTo>
                      <a:pt x="71476" y="157765"/>
                      <a:pt x="85941" y="208273"/>
                      <a:pt x="124210" y="236611"/>
                    </a:cubicBezTo>
                    <a:cubicBezTo>
                      <a:pt x="162479" y="264948"/>
                      <a:pt x="215010" y="264049"/>
                      <a:pt x="252287" y="234417"/>
                    </a:cubicBezTo>
                    <a:cubicBezTo>
                      <a:pt x="289563" y="204786"/>
                      <a:pt x="302290" y="153811"/>
                      <a:pt x="283316" y="110136"/>
                    </a:cubicBezTo>
                    <a:close/>
                    <a:moveTo>
                      <a:pt x="126079" y="13021"/>
                    </a:moveTo>
                    <a:lnTo>
                      <a:pt x="142702" y="79516"/>
                    </a:lnTo>
                    <a:lnTo>
                      <a:pt x="230936" y="79516"/>
                    </a:lnTo>
                    <a:lnTo>
                      <a:pt x="247560" y="13021"/>
                    </a:lnTo>
                    <a:cubicBezTo>
                      <a:pt x="291033" y="34674"/>
                      <a:pt x="320593" y="79674"/>
                      <a:pt x="320593" y="131578"/>
                    </a:cubicBezTo>
                    <a:cubicBezTo>
                      <a:pt x="320593" y="205460"/>
                      <a:pt x="260700" y="265353"/>
                      <a:pt x="186819" y="265353"/>
                    </a:cubicBezTo>
                    <a:cubicBezTo>
                      <a:pt x="112938" y="265353"/>
                      <a:pt x="53045" y="205460"/>
                      <a:pt x="53045" y="131578"/>
                    </a:cubicBezTo>
                    <a:cubicBezTo>
                      <a:pt x="53045" y="79674"/>
                      <a:pt x="82605" y="34674"/>
                      <a:pt x="126079" y="13021"/>
                    </a:cubicBezTo>
                    <a:close/>
                    <a:moveTo>
                      <a:pt x="179664" y="51"/>
                    </a:moveTo>
                    <a:cubicBezTo>
                      <a:pt x="208878" y="-653"/>
                      <a:pt x="237366" y="6110"/>
                      <a:pt x="242446" y="11327"/>
                    </a:cubicBezTo>
                    <a:lnTo>
                      <a:pt x="227704" y="75750"/>
                    </a:lnTo>
                    <a:lnTo>
                      <a:pt x="145934" y="75750"/>
                    </a:lnTo>
                    <a:lnTo>
                      <a:pt x="131192" y="11327"/>
                    </a:lnTo>
                    <a:cubicBezTo>
                      <a:pt x="144345" y="3583"/>
                      <a:pt x="162135" y="473"/>
                      <a:pt x="179664" y="51"/>
                    </a:cubicBezTo>
                    <a:close/>
                  </a:path>
                </a:pathLst>
              </a:custGeom>
              <a:solidFill>
                <a:schemeClr val="bg1"/>
              </a:solidFill>
              <a:ln w="6350" cap="flat" cmpd="sng" algn="ctr">
                <a:noFill/>
                <a:prstDash val="solid"/>
                <a:round/>
                <a:headEnd type="none" w="med" len="med"/>
                <a:tailEnd type="none" w="med" len="med"/>
              </a:ln>
              <a:effectLst/>
            </p:spPr>
            <p:txBody>
              <a:bodyPr vert="horz" wrap="square" lIns="89642" tIns="44821" rIns="89642" bIns="44821" numCol="1" rtlCol="0" anchor="t" anchorCtr="0" compatLnSpc="1">
                <a:prstTxWarp prst="textNoShape">
                  <a:avLst/>
                </a:prstTxWarp>
              </a:bodyPr>
              <a:lstStyle/>
              <a:p>
                <a:pPr algn="ctr" defTabSz="671782"/>
                <a:endParaRPr lang="en-US" sz="1765" kern="0">
                  <a:solidFill>
                    <a:srgbClr val="FFFFFF"/>
                  </a:solidFill>
                </a:endParaRPr>
              </a:p>
            </p:txBody>
          </p:sp>
          <p:sp>
            <p:nvSpPr>
              <p:cNvPr id="75" name="Freeform 27"/>
              <p:cNvSpPr>
                <a:spLocks noChangeAspect="1" noEditPoints="1"/>
              </p:cNvSpPr>
              <p:nvPr/>
            </p:nvSpPr>
            <p:spPr bwMode="black">
              <a:xfrm>
                <a:off x="1194605" y="6210080"/>
                <a:ext cx="308155" cy="23530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bg1"/>
              </a:solidFill>
              <a:extLst/>
            </p:spPr>
            <p:txBody>
              <a:bodyPr vert="horz" wrap="square" lIns="89642" tIns="44821" rIns="89642" bIns="44821" numCol="1" anchor="t" anchorCtr="0" compatLnSpc="1">
                <a:prstTxWarp prst="textNoShape">
                  <a:avLst/>
                </a:prstTxWarp>
              </a:bodyPr>
              <a:lstStyle/>
              <a:p>
                <a:pPr defTabSz="1194243">
                  <a:defRPr/>
                </a:pPr>
                <a:endParaRPr lang="en-US" sz="2255" kern="0">
                  <a:ln>
                    <a:solidFill>
                      <a:srgbClr val="000000">
                        <a:alpha val="0"/>
                      </a:srgbClr>
                    </a:solidFill>
                  </a:ln>
                  <a:solidFill>
                    <a:srgbClr val="000000"/>
                  </a:solidFill>
                </a:endParaRPr>
              </a:p>
            </p:txBody>
          </p:sp>
        </p:grpSp>
      </p:grpSp>
      <p:sp>
        <p:nvSpPr>
          <p:cNvPr id="3" name="Footer Placeholder 2"/>
          <p:cNvSpPr>
            <a:spLocks noGrp="1"/>
          </p:cNvSpPr>
          <p:nvPr>
            <p:ph type="ftr" sz="quarter" idx="10"/>
          </p:nvPr>
        </p:nvSpPr>
        <p:spPr/>
        <p:txBody>
          <a:bodyPr/>
          <a:lstStyle/>
          <a:p>
            <a:r>
              <a:rPr smtClean="0">
                <a:solidFill>
                  <a:srgbClr val="505050"/>
                </a:solidFill>
              </a:rPr>
              <a:t>Microsoft Confidential - INTERNAL ONLY</a:t>
            </a:r>
            <a:endParaRPr>
              <a:solidFill>
                <a:srgbClr val="505050"/>
              </a:solidFill>
            </a:endParaRPr>
          </a:p>
        </p:txBody>
      </p:sp>
      <p:sp>
        <p:nvSpPr>
          <p:cNvPr id="5" name="Slide Number Placeholder 4"/>
          <p:cNvSpPr>
            <a:spLocks noGrp="1"/>
          </p:cNvSpPr>
          <p:nvPr>
            <p:ph type="sldNum" sz="quarter" idx="11"/>
          </p:nvPr>
        </p:nvSpPr>
        <p:spPr/>
        <p:txBody>
          <a:bodyPr/>
          <a:lstStyle/>
          <a:p>
            <a:fld id="{27258FFF-F925-446B-8502-81C933981705}" type="slidenum">
              <a:rPr>
                <a:solidFill>
                  <a:srgbClr val="505050"/>
                </a:solidFill>
              </a:rPr>
              <a:pPr/>
              <a:t>9</a:t>
            </a:fld>
            <a:endParaRPr>
              <a:solidFill>
                <a:srgbClr val="505050"/>
              </a:solidFill>
            </a:endParaRPr>
          </a:p>
        </p:txBody>
      </p:sp>
    </p:spTree>
    <p:extLst>
      <p:ext uri="{BB962C8B-B14F-4D97-AF65-F5344CB8AC3E}">
        <p14:creationId xmlns:p14="http://schemas.microsoft.com/office/powerpoint/2010/main" val="4256773966"/>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Template_LIGHT_16x9 v04">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2_DynamicsTemplate_LIGHT_16x9 v04">
  <a:themeElements>
    <a:clrScheme name="Custom 2">
      <a:dk1>
        <a:srgbClr val="292929"/>
      </a:dk1>
      <a:lt1>
        <a:srgbClr val="FFFFFF"/>
      </a:lt1>
      <a:dk2>
        <a:srgbClr val="00AEEF"/>
      </a:dk2>
      <a:lt2>
        <a:srgbClr val="DDDDDD"/>
      </a:lt2>
      <a:accent1>
        <a:srgbClr val="00AEEF"/>
      </a:accent1>
      <a:accent2>
        <a:srgbClr val="0071BC"/>
      </a:accent2>
      <a:accent3>
        <a:srgbClr val="00A600"/>
      </a:accent3>
      <a:accent4>
        <a:srgbClr val="8CC600"/>
      </a:accent4>
      <a:accent5>
        <a:srgbClr val="FFBE00"/>
      </a:accent5>
      <a:accent6>
        <a:srgbClr val="FF5300"/>
      </a:accent6>
      <a:hlink>
        <a:srgbClr val="00AEEF"/>
      </a:hlink>
      <a:folHlink>
        <a:srgbClr val="FF5300"/>
      </a:folHlink>
    </a:clrScheme>
    <a:fontScheme name="Custom 1">
      <a:majorFont>
        <a:latin typeface="Segoe UI Light"/>
        <a:ea typeface=""/>
        <a:cs typeface=""/>
      </a:majorFont>
      <a:minorFont>
        <a:latin typeface="Segoe UI Light"/>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2">
            <a:shade val="50000"/>
          </a:schemeClr>
        </a:lnRef>
        <a:fillRef idx="1">
          <a:schemeClr val="accent2"/>
        </a:fillRef>
        <a:effectRef idx="0">
          <a:schemeClr val="accent2"/>
        </a:effectRef>
        <a:fontRef idx="minor">
          <a:schemeClr val="lt1"/>
        </a:fontRef>
      </a:style>
    </a:spDef>
    <a:txDef>
      <a:spPr>
        <a:noFill/>
      </a:spPr>
      <a:bodyPr wrap="square" lIns="0" tIns="0" rIns="0" bIns="0" rtlCol="0">
        <a:spAutoFit/>
      </a:bodyPr>
      <a:lstStyle>
        <a:defPPr>
          <a:defRPr sz="3200" dirty="0" err="1" smtClean="0">
            <a:gradFill>
              <a:gsLst>
                <a:gs pos="0">
                  <a:schemeClr val="tx1"/>
                </a:gs>
                <a:gs pos="86000">
                  <a:schemeClr val="tx1"/>
                </a:gs>
              </a:gsLst>
              <a:lin ang="5400000" scaled="0"/>
            </a:gradFill>
          </a:defRPr>
        </a:defPPr>
      </a:lstStyle>
    </a:txDef>
  </a:objectDefaults>
  <a:extraClrSchemeLst/>
</a:theme>
</file>

<file path=ppt/theme/theme3.xml><?xml version="1.0" encoding="utf-8"?>
<a:theme xmlns:a="http://schemas.openxmlformats.org/drawingml/2006/main" name="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Customer-Ready Template Audienz Modified.potx" id="{092DFF61-9B9B-4BDB-9EC7-D47A5F3C0BAF}" vid="{E326199E-CEC6-4972-9DA7-4930361C35E6}"/>
    </a:ext>
  </a:extLst>
</a:theme>
</file>

<file path=ppt/theme/theme4.xml><?xml version="1.0" encoding="utf-8"?>
<a:theme xmlns:a="http://schemas.openxmlformats.org/drawingml/2006/main" name="1_3-30177_WPC2013_Breakout_Template_WHT">
  <a:themeElements>
    <a:clrScheme name="WPC Regional keynote template colors">
      <a:dk1>
        <a:srgbClr val="000000"/>
      </a:dk1>
      <a:lt1>
        <a:srgbClr val="FFFFFF"/>
      </a:lt1>
      <a:dk2>
        <a:srgbClr val="DC3C00"/>
      </a:dk2>
      <a:lt2>
        <a:srgbClr val="D2D2D2"/>
      </a:lt2>
      <a:accent1>
        <a:srgbClr val="DC3C00"/>
      </a:accent1>
      <a:accent2>
        <a:srgbClr val="0072C6"/>
      </a:accent2>
      <a:accent3>
        <a:srgbClr val="FF8C00"/>
      </a:accent3>
      <a:accent4>
        <a:srgbClr val="008272"/>
      </a:accent4>
      <a:accent5>
        <a:srgbClr val="00188F"/>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3_Breakout_Template" id="{EBC54214-B687-48AB-B0DE-C75E1F46C4C0}" vid="{71185E15-836D-48A8-8942-F5A199F0F0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TotalTime>
  <Words>2904</Words>
  <Application>Microsoft Office PowerPoint</Application>
  <PresentationFormat>Widescreen</PresentationFormat>
  <Paragraphs>346</Paragraphs>
  <Slides>14</Slides>
  <Notes>1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30" baseType="lpstr">
      <vt:lpstr>Arial</vt:lpstr>
      <vt:lpstr>Calibri</vt:lpstr>
      <vt:lpstr>Century Gothic</vt:lpstr>
      <vt:lpstr>Consolas</vt:lpstr>
      <vt:lpstr>Segoe Light</vt:lpstr>
      <vt:lpstr>Segoe Pro Light</vt:lpstr>
      <vt:lpstr>Segoe UI</vt:lpstr>
      <vt:lpstr>Segoe UI Light</vt:lpstr>
      <vt:lpstr>Segoe UI Semibold</vt:lpstr>
      <vt:lpstr>Segoe UI Semilight</vt:lpstr>
      <vt:lpstr>Wingdings</vt:lpstr>
      <vt:lpstr>DynamicsTemplate_LIGHT_16x9 v04</vt:lpstr>
      <vt:lpstr>2_DynamicsTemplate_LIGHT_16x9 v04</vt:lpstr>
      <vt:lpstr>STB Product Families 2013</vt:lpstr>
      <vt:lpstr>1_3-30177_WPC2013_Breakout_Template_WHT</vt:lpstr>
      <vt:lpstr>think-cell Slide</vt:lpstr>
      <vt:lpstr>Microsoft Azure Government Technical overview</vt:lpstr>
      <vt:lpstr>Transform the datacenter</vt:lpstr>
      <vt:lpstr>Microsoft Azure Infrastructure as a Service (IaaS)</vt:lpstr>
      <vt:lpstr>Microsoft Azure Platform as a Service (PaaS)</vt:lpstr>
      <vt:lpstr>Azure: an open platform powered by choice</vt:lpstr>
      <vt:lpstr>What is Microsoft Azure Government?</vt:lpstr>
      <vt:lpstr>Comprehensive cloud services</vt:lpstr>
      <vt:lpstr>U.S. Public Sector requirements and needs</vt:lpstr>
      <vt:lpstr>Introducing Microsoft Azure Government A government-community cloud that extends world-class security and control for dedicated U.S. Public Sector workloads.</vt:lpstr>
      <vt:lpstr>Azure Government: powerful datacenter security</vt:lpstr>
      <vt:lpstr>PowerPoint Presentation</vt:lpstr>
      <vt:lpstr>PowerPoint Presentation</vt:lpstr>
      <vt:lpstr>PowerPoint Presentation</vt:lpstr>
      <vt:lpstr>High-density, industry-standard hardwar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sie Adams</dc:creator>
  <cp:lastModifiedBy>Susie Adams</cp:lastModifiedBy>
  <cp:revision>3</cp:revision>
  <dcterms:created xsi:type="dcterms:W3CDTF">2014-10-23T16:13:14Z</dcterms:created>
  <dcterms:modified xsi:type="dcterms:W3CDTF">2014-10-23T16:18:08Z</dcterms:modified>
</cp:coreProperties>
</file>